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28"/>
  </p:notesMasterIdLst>
  <p:handoutMasterIdLst>
    <p:handoutMasterId r:id="rId29"/>
  </p:handoutMasterIdLst>
  <p:sldIdLst>
    <p:sldId id="2147481903" r:id="rId5"/>
    <p:sldId id="755" r:id="rId6"/>
    <p:sldId id="769" r:id="rId7"/>
    <p:sldId id="715" r:id="rId8"/>
    <p:sldId id="711" r:id="rId9"/>
    <p:sldId id="529" r:id="rId10"/>
    <p:sldId id="713" r:id="rId11"/>
    <p:sldId id="716" r:id="rId12"/>
    <p:sldId id="258" r:id="rId13"/>
    <p:sldId id="766" r:id="rId14"/>
    <p:sldId id="387" r:id="rId15"/>
    <p:sldId id="763" r:id="rId16"/>
    <p:sldId id="757" r:id="rId17"/>
    <p:sldId id="392" r:id="rId18"/>
    <p:sldId id="722" r:id="rId19"/>
    <p:sldId id="724" r:id="rId20"/>
    <p:sldId id="717" r:id="rId21"/>
    <p:sldId id="725" r:id="rId22"/>
    <p:sldId id="726" r:id="rId23"/>
    <p:sldId id="727" r:id="rId24"/>
    <p:sldId id="759" r:id="rId25"/>
    <p:sldId id="265" r:id="rId26"/>
    <p:sldId id="2147481942"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CFD7"/>
    <a:srgbClr val="525A72"/>
    <a:srgbClr val="A8192D"/>
    <a:srgbClr val="D9D9D9"/>
    <a:srgbClr val="D18D85"/>
    <a:srgbClr val="CFD6E8"/>
    <a:srgbClr val="A4A3B2"/>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291" autoAdjust="0"/>
  </p:normalViewPr>
  <p:slideViewPr>
    <p:cSldViewPr snapToGrid="0">
      <p:cViewPr varScale="1">
        <p:scale>
          <a:sx n="83" d="100"/>
          <a:sy n="83" d="100"/>
        </p:scale>
        <p:origin x="658"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aida attēla vietturis 1">
            <a:extLst>
              <a:ext uri="{FF2B5EF4-FFF2-40B4-BE49-F238E27FC236}">
                <a16:creationId xmlns:a16="http://schemas.microsoft.com/office/drawing/2014/main" id="{8B7A7AFD-C0A2-C1C4-9958-9D063BA4A81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iezīmju vietturis 2">
            <a:extLst>
              <a:ext uri="{FF2B5EF4-FFF2-40B4-BE49-F238E27FC236}">
                <a16:creationId xmlns:a16="http://schemas.microsoft.com/office/drawing/2014/main" id="{E6513D3F-8742-B77F-13CD-94082EDF0DAC}"/>
              </a:ext>
            </a:extLst>
          </p:cNvPr>
          <p:cNvSpPr>
            <a:spLocks noGrp="1"/>
          </p:cNvSpPr>
          <p:nvPr>
            <p:ph type="body" idx="1"/>
          </p:nvPr>
        </p:nvSpPr>
        <p:spPr/>
        <p:txBody>
          <a:bodyPr/>
          <a:lstStyle/>
          <a:p>
            <a:pPr algn="just">
              <a:buFont typeface="Arial" panose="020B0604020202020204" pitchFamily="34" charset="0"/>
              <a:buNone/>
              <a:defRPr/>
            </a:pPr>
            <a:endParaRPr lang="lv-LV"/>
          </a:p>
        </p:txBody>
      </p:sp>
      <p:sp>
        <p:nvSpPr>
          <p:cNvPr id="4" name="Slaida numura vietturis 3">
            <a:extLst>
              <a:ext uri="{FF2B5EF4-FFF2-40B4-BE49-F238E27FC236}">
                <a16:creationId xmlns:a16="http://schemas.microsoft.com/office/drawing/2014/main" id="{FD046837-7936-E356-818E-175E99C23C1A}"/>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56313DE-59F4-418C-9D80-2D7E1458FD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755017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15</a:t>
            </a:fld>
            <a:endParaRPr lang="en-GB"/>
          </a:p>
        </p:txBody>
      </p:sp>
    </p:spTree>
    <p:extLst>
      <p:ext uri="{BB962C8B-B14F-4D97-AF65-F5344CB8AC3E}">
        <p14:creationId xmlns:p14="http://schemas.microsoft.com/office/powerpoint/2010/main" val="17784889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41734725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9</a:t>
            </a:fld>
            <a:endParaRPr lang="en-GB"/>
          </a:p>
        </p:txBody>
      </p:sp>
    </p:spTree>
    <p:extLst>
      <p:ext uri="{BB962C8B-B14F-4D97-AF65-F5344CB8AC3E}">
        <p14:creationId xmlns:p14="http://schemas.microsoft.com/office/powerpoint/2010/main" val="4234117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343062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2023553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28128695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i pildi kohatäide 1"/>
          <p:cNvSpPr>
            <a:spLocks noGrp="1" noRot="1" noChangeAspect="1"/>
          </p:cNvSpPr>
          <p:nvPr>
            <p:ph type="sldImg"/>
          </p:nvPr>
        </p:nvSpPr>
        <p:spPr>
          <a:xfrm>
            <a:off x="381000" y="685800"/>
            <a:ext cx="6096000" cy="3429000"/>
          </a:xfrm>
        </p:spPr>
      </p:sp>
      <p:sp>
        <p:nvSpPr>
          <p:cNvPr id="3" name="Märkmete kohatäide 2"/>
          <p:cNvSpPr>
            <a:spLocks noGrp="1"/>
          </p:cNvSpPr>
          <p:nvPr>
            <p:ph type="body" idx="1"/>
          </p:nvPr>
        </p:nvSpPr>
        <p:spPr/>
        <p:txBody>
          <a:bodyPr/>
          <a:lstStyle/>
          <a:p>
            <a:endParaRPr lang="et-EE" dirty="0"/>
          </a:p>
        </p:txBody>
      </p:sp>
    </p:spTree>
    <p:extLst>
      <p:ext uri="{BB962C8B-B14F-4D97-AF65-F5344CB8AC3E}">
        <p14:creationId xmlns:p14="http://schemas.microsoft.com/office/powerpoint/2010/main" val="3620291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A530D-631F-4981-98F0-E6C07C67E1A3}" type="slidenum">
              <a:rPr lang="en-GB" smtClean="0"/>
              <a:t>5</a:t>
            </a:fld>
            <a:endParaRPr lang="en-GB"/>
          </a:p>
        </p:txBody>
      </p:sp>
    </p:spTree>
    <p:extLst>
      <p:ext uri="{BB962C8B-B14F-4D97-AF65-F5344CB8AC3E}">
        <p14:creationId xmlns:p14="http://schemas.microsoft.com/office/powerpoint/2010/main" val="378199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a:p>
        </p:txBody>
      </p:sp>
    </p:spTree>
    <p:extLst>
      <p:ext uri="{BB962C8B-B14F-4D97-AF65-F5344CB8AC3E}">
        <p14:creationId xmlns:p14="http://schemas.microsoft.com/office/powerpoint/2010/main" val="2373416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3733366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421433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aida attēla vietturis 1">
            <a:extLst>
              <a:ext uri="{FF2B5EF4-FFF2-40B4-BE49-F238E27FC236}">
                <a16:creationId xmlns:a16="http://schemas.microsoft.com/office/drawing/2014/main" id="{576EB5AE-F666-65AB-C386-2D105799B63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Piezīmju vietturis 2">
            <a:extLst>
              <a:ext uri="{FF2B5EF4-FFF2-40B4-BE49-F238E27FC236}">
                <a16:creationId xmlns:a16="http://schemas.microsoft.com/office/drawing/2014/main" id="{7751A348-E9F8-A96F-F3C4-ABB9CB2E550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a:p>
        </p:txBody>
      </p:sp>
      <p:sp>
        <p:nvSpPr>
          <p:cNvPr id="4" name="Slaida numura vietturis 3">
            <a:extLst>
              <a:ext uri="{FF2B5EF4-FFF2-40B4-BE49-F238E27FC236}">
                <a16:creationId xmlns:a16="http://schemas.microsoft.com/office/drawing/2014/main" id="{EF479687-F79E-8EA5-FD32-543BCE611C36}"/>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89F52E2-88AC-46D2-A743-6FB8F6EED65D}" type="slidenum">
              <a:rPr lang="lv-LV" altLang="en-US">
                <a:latin typeface="Calibri" panose="020F0502020204030204" pitchFamily="34" charset="0"/>
              </a:rPr>
              <a:pPr/>
              <a:t>10</a:t>
            </a:fld>
            <a:endParaRPr lang="lv-LV" altLang="en-US">
              <a:latin typeface="Calibri" panose="020F0502020204030204" pitchFamily="34" charset="0"/>
            </a:endParaRPr>
          </a:p>
        </p:txBody>
      </p:sp>
    </p:spTree>
    <p:extLst>
      <p:ext uri="{BB962C8B-B14F-4D97-AF65-F5344CB8AC3E}">
        <p14:creationId xmlns:p14="http://schemas.microsoft.com/office/powerpoint/2010/main" val="3992514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154144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aida attēla vietturis 1">
            <a:extLst>
              <a:ext uri="{FF2B5EF4-FFF2-40B4-BE49-F238E27FC236}">
                <a16:creationId xmlns:a16="http://schemas.microsoft.com/office/drawing/2014/main" id="{51352BB7-FA4C-BF5F-9AFF-5996256610A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Piezīmju vietturis 2">
            <a:extLst>
              <a:ext uri="{FF2B5EF4-FFF2-40B4-BE49-F238E27FC236}">
                <a16:creationId xmlns:a16="http://schemas.microsoft.com/office/drawing/2014/main" id="{0772B1AD-CBCB-6ABD-9270-33BD035968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a:p>
        </p:txBody>
      </p:sp>
      <p:sp>
        <p:nvSpPr>
          <p:cNvPr id="4" name="Slaida numura vietturis 3">
            <a:extLst>
              <a:ext uri="{FF2B5EF4-FFF2-40B4-BE49-F238E27FC236}">
                <a16:creationId xmlns:a16="http://schemas.microsoft.com/office/drawing/2014/main" id="{CCF86D86-AA0B-8098-5C75-5034E1567B78}"/>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FDFC69-2855-4267-B52A-1703662482C4}"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81999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aida attēla vietturis 1">
            <a:extLst>
              <a:ext uri="{FF2B5EF4-FFF2-40B4-BE49-F238E27FC236}">
                <a16:creationId xmlns:a16="http://schemas.microsoft.com/office/drawing/2014/main" id="{BAEC982A-AECE-6634-7D85-C0F844A1E0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iezīmju vietturis 2">
            <a:extLst>
              <a:ext uri="{FF2B5EF4-FFF2-40B4-BE49-F238E27FC236}">
                <a16:creationId xmlns:a16="http://schemas.microsoft.com/office/drawing/2014/main" id="{ABAC9367-BE66-9277-B6CB-2673D2D43E6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a:endParaRPr lang="lv-LV" altLang="lv-LV" dirty="0"/>
          </a:p>
        </p:txBody>
      </p:sp>
      <p:sp>
        <p:nvSpPr>
          <p:cNvPr id="4" name="Slaida numura vietturis 3">
            <a:extLst>
              <a:ext uri="{FF2B5EF4-FFF2-40B4-BE49-F238E27FC236}">
                <a16:creationId xmlns:a16="http://schemas.microsoft.com/office/drawing/2014/main" id="{CABDC201-41AD-7A01-4082-D22767803799}"/>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4635FC9-7A2E-4C66-BCB1-E9782C3761E8}" type="slidenum">
              <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lv-LV"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2380081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34346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4857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A7820C-4056-AC3E-D3E7-E60496556F41}"/>
              </a:ext>
            </a:extLst>
          </p:cNvPr>
          <p:cNvGraphicFramePr>
            <a:graphicFrameLocks noChangeAspect="1"/>
          </p:cNvGraphicFramePr>
          <p:nvPr userDrawn="1">
            <p:custDataLst>
              <p:tags r:id="rId1"/>
            </p:custDataLst>
            <p:extLst>
              <p:ext uri="{D42A27DB-BD31-4B8C-83A1-F6EECF244321}">
                <p14:modId xmlns:p14="http://schemas.microsoft.com/office/powerpoint/2010/main" val="36475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7AA7820C-4056-AC3E-D3E7-E60496556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4" y="432001"/>
            <a:ext cx="5473700"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
        <p:nvSpPr>
          <p:cNvPr id="10" name="TextBox 9">
            <a:extLst>
              <a:ext uri="{FF2B5EF4-FFF2-40B4-BE49-F238E27FC236}">
                <a16:creationId xmlns:a16="http://schemas.microsoft.com/office/drawing/2014/main" id="{74B4BC3D-ABC2-4B9A-A975-831BE6646300}"/>
              </a:ext>
            </a:extLst>
          </p:cNvPr>
          <p:cNvSpPr txBox="1"/>
          <p:nvPr userDrawn="1"/>
        </p:nvSpPr>
        <p:spPr>
          <a:xfrm>
            <a:off x="6275388" y="455527"/>
            <a:ext cx="5473700" cy="1387475"/>
          </a:xfrm>
          <a:prstGeom prst="rect">
            <a:avLst/>
          </a:prstGeom>
          <a:noFill/>
        </p:spPr>
        <p:txBody>
          <a:bodyPr wrap="square" lIns="0" tIns="0" rIns="0" bIns="0" rtlCol="0">
            <a:noAutofit/>
          </a:bodyPr>
          <a:lstStyle/>
          <a:p>
            <a:pPr marL="182880" indent="-182880">
              <a:lnSpc>
                <a:spcPct val="100000"/>
              </a:lnSpc>
              <a:spcAft>
                <a:spcPts val="600"/>
              </a:spcAft>
              <a:buSzPct val="100000"/>
              <a:buFont typeface="Arial"/>
              <a:buChar char="•"/>
            </a:pPr>
            <a:endParaRPr lang="en-US" sz="1600"/>
          </a:p>
        </p:txBody>
      </p:sp>
    </p:spTree>
    <p:extLst>
      <p:ext uri="{BB962C8B-B14F-4D97-AF65-F5344CB8AC3E}">
        <p14:creationId xmlns:p14="http://schemas.microsoft.com/office/powerpoint/2010/main" val="2493366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3677107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746488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a:t>[Presentation title]</a:t>
            </a:r>
            <a:endParaRPr lang="en-GB"/>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14B64D-460A-F12C-B249-23B165800391}"/>
              </a:ext>
            </a:extLst>
          </p:cNvPr>
          <p:cNvGraphicFramePr>
            <a:graphicFrameLocks noChangeAspect="1"/>
          </p:cNvGraphicFramePr>
          <p:nvPr userDrawn="1">
            <p:custDataLst>
              <p:tags r:id="rId70"/>
            </p:custDataLst>
            <p:extLst>
              <p:ext uri="{D42A27DB-BD31-4B8C-83A1-F6EECF244321}">
                <p14:modId xmlns:p14="http://schemas.microsoft.com/office/powerpoint/2010/main" val="41523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9" name="think-cell data - do not delete" hidden="1">
                        <a:extLst>
                          <a:ext uri="{FF2B5EF4-FFF2-40B4-BE49-F238E27FC236}">
                            <a16:creationId xmlns:a16="http://schemas.microsoft.com/office/drawing/2014/main" id="{E814B64D-460A-F12C-B249-23B16580039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91" r:id="rId64"/>
    <p:sldLayoutId id="2147483787" r:id="rId65"/>
    <p:sldLayoutId id="2147483792" r:id="rId66"/>
    <p:sldLayoutId id="2147483788" r:id="rId67"/>
    <p:sldLayoutId id="2147483789" r:id="rId68"/>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63.xml"/><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63.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jpeg"/><Relationship Id="rId4" Type="http://schemas.openxmlformats.org/officeDocument/2006/relationships/image" Target="../media/image25.pn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5.xml"/><Relationship Id="rId5" Type="http://schemas.openxmlformats.org/officeDocument/2006/relationships/image" Target="../media/image15.jpe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descr="A group of people in an office&#10;&#10;Description automatically generated">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rotWithShape="1">
          <a:blip r:embed="rId3"/>
          <a:srcRect t="16501" r="9420" b="7078"/>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1415120"/>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1. Ievads</a:t>
            </a:r>
            <a:endParaRPr lang="en-GB" sz="4400" dirty="0">
              <a:solidFill>
                <a:schemeClr val="bg1"/>
              </a:solidFill>
              <a:latin typeface="+mj-lt"/>
              <a:cs typeface="Arial"/>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extBox 1">
            <a:extLst>
              <a:ext uri="{FF2B5EF4-FFF2-40B4-BE49-F238E27FC236}">
                <a16:creationId xmlns:a16="http://schemas.microsoft.com/office/drawing/2014/main" id="{1C1D87F6-72B5-1700-2E54-C7896815782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dirty="0">
                <a:solidFill>
                  <a:srgbClr val="000000"/>
                </a:solidFill>
                <a:effectLst/>
                <a:latin typeface="Georgia" panose="02040502050405020303" pitchFamily="18" charset="0"/>
              </a:rPr>
              <a:t>Studiju kurss "Civilā aizsardzība"</a:t>
            </a:r>
            <a:endParaRPr lang="lv-LV" sz="1800" dirty="0">
              <a:latin typeface="+mj-lt"/>
            </a:endParaRPr>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Virsraksts 1">
            <a:extLst>
              <a:ext uri="{FF2B5EF4-FFF2-40B4-BE49-F238E27FC236}">
                <a16:creationId xmlns:a16="http://schemas.microsoft.com/office/drawing/2014/main" id="{9DDC7E85-99F6-7886-A583-DFC99F730523}"/>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2/6)</a:t>
            </a:r>
          </a:p>
        </p:txBody>
      </p:sp>
      <p:sp>
        <p:nvSpPr>
          <p:cNvPr id="4" name="Slaida numura vietturis 3">
            <a:extLst>
              <a:ext uri="{FF2B5EF4-FFF2-40B4-BE49-F238E27FC236}">
                <a16:creationId xmlns:a16="http://schemas.microsoft.com/office/drawing/2014/main" id="{1631F691-8030-0151-485D-5AFD2EA786E6}"/>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142CE2B-69BF-4057-9042-E635764873BC}" type="slidenum">
              <a:rPr lang="lv-LV" altLang="en-US"/>
              <a:pPr/>
              <a:t>10</a:t>
            </a:fld>
            <a:endParaRPr lang="lv-LV" altLang="en-US"/>
          </a:p>
        </p:txBody>
      </p:sp>
      <p:sp>
        <p:nvSpPr>
          <p:cNvPr id="3" name="Satura vietturis 2">
            <a:extLst>
              <a:ext uri="{FF2B5EF4-FFF2-40B4-BE49-F238E27FC236}">
                <a16:creationId xmlns:a16="http://schemas.microsoft.com/office/drawing/2014/main" id="{B8239BD8-7486-292E-F070-92ED60367541}"/>
              </a:ext>
            </a:extLst>
          </p:cNvPr>
          <p:cNvSpPr>
            <a:spLocks noGrp="1"/>
          </p:cNvSpPr>
          <p:nvPr>
            <p:ph idx="4294967295"/>
          </p:nvPr>
        </p:nvSpPr>
        <p:spPr>
          <a:xfrm>
            <a:off x="1139874" y="1819275"/>
            <a:ext cx="4766654" cy="1499562"/>
          </a:xfrm>
          <a:solidFill>
            <a:schemeClr val="bg1">
              <a:lumMod val="95000"/>
            </a:schemeClr>
          </a:solidFill>
        </p:spPr>
        <p:txBody>
          <a:bodyPr wrap="square" lIns="72000" tIns="72000" rIns="72000" bIns="72000" anchor="ctr">
            <a:noAutofit/>
          </a:bodyPr>
          <a:lstStyle/>
          <a:p>
            <a:pPr>
              <a:spcAft>
                <a:spcPts val="600"/>
              </a:spcAft>
              <a:defRPr/>
            </a:pPr>
            <a:r>
              <a:rPr lang="lv-LV" altLang="lv-LV" sz="1600" b="1">
                <a:solidFill>
                  <a:schemeClr val="tx1"/>
                </a:solidFill>
              </a:rPr>
              <a:t>Nodrošināt cilvēku, vides un īpašuma drošību.</a:t>
            </a:r>
            <a:endParaRPr lang="en-US" altLang="lv-LV" sz="1600" b="1">
              <a:solidFill>
                <a:schemeClr val="tx1"/>
              </a:solidFill>
            </a:endParaRPr>
          </a:p>
        </p:txBody>
      </p:sp>
      <p:sp>
        <p:nvSpPr>
          <p:cNvPr id="5" name="Satura vietturis 2">
            <a:extLst>
              <a:ext uri="{FF2B5EF4-FFF2-40B4-BE49-F238E27FC236}">
                <a16:creationId xmlns:a16="http://schemas.microsoft.com/office/drawing/2014/main" id="{EF72F93A-C63A-8404-0BC0-C87C8317EDF0}"/>
              </a:ext>
            </a:extLst>
          </p:cNvPr>
          <p:cNvSpPr txBox="1">
            <a:spLocks/>
          </p:cNvSpPr>
          <p:nvPr/>
        </p:nvSpPr>
        <p:spPr>
          <a:xfrm>
            <a:off x="6981826" y="1819275"/>
            <a:ext cx="4767263" cy="1499562"/>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a:solidFill>
                  <a:schemeClr val="tx1"/>
                </a:solidFill>
              </a:rPr>
              <a:t>Pēc iespējas nodrošināt sabiedrībai minimāli nepieciešamās pamatvajadzības katastrofas vai katastrofas draudu gadījumā.</a:t>
            </a:r>
            <a:endParaRPr lang="en-US" altLang="lv-LV" sz="1600">
              <a:solidFill>
                <a:schemeClr val="tx1"/>
              </a:solidFill>
            </a:endParaRPr>
          </a:p>
        </p:txBody>
      </p:sp>
      <p:sp>
        <p:nvSpPr>
          <p:cNvPr id="10" name="Rectangle 9">
            <a:extLst>
              <a:ext uri="{FF2B5EF4-FFF2-40B4-BE49-F238E27FC236}">
                <a16:creationId xmlns:a16="http://schemas.microsoft.com/office/drawing/2014/main" id="{E3E32D37-EE28-B74C-8C28-BA6938CA2F2D}"/>
              </a:ext>
            </a:extLst>
          </p:cNvPr>
          <p:cNvSpPr/>
          <p:nvPr/>
        </p:nvSpPr>
        <p:spPr>
          <a:xfrm>
            <a:off x="442912" y="1819275"/>
            <a:ext cx="586800" cy="1496976"/>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1</a:t>
            </a:r>
          </a:p>
        </p:txBody>
      </p:sp>
      <p:sp>
        <p:nvSpPr>
          <p:cNvPr id="27" name="Rectangle 26">
            <a:extLst>
              <a:ext uri="{FF2B5EF4-FFF2-40B4-BE49-F238E27FC236}">
                <a16:creationId xmlns:a16="http://schemas.microsoft.com/office/drawing/2014/main" id="{E0FB310E-5026-8939-543E-6C256337A58B}"/>
              </a:ext>
            </a:extLst>
          </p:cNvPr>
          <p:cNvSpPr/>
          <p:nvPr/>
        </p:nvSpPr>
        <p:spPr>
          <a:xfrm>
            <a:off x="6286501" y="1819275"/>
            <a:ext cx="586800" cy="1496976"/>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2</a:t>
            </a:r>
          </a:p>
        </p:txBody>
      </p:sp>
      <p:pic>
        <p:nvPicPr>
          <p:cNvPr id="3076" name="Picture 4" descr="a man is working on a piece of wood">
            <a:extLst>
              <a:ext uri="{FF2B5EF4-FFF2-40B4-BE49-F238E27FC236}">
                <a16:creationId xmlns:a16="http://schemas.microsoft.com/office/drawing/2014/main" id="{5F35909F-2D75-BE00-D0D2-335482B850C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9"/>
          <a:stretch/>
        </p:blipFill>
        <p:spPr bwMode="auto">
          <a:xfrm>
            <a:off x="442911" y="3462839"/>
            <a:ext cx="5463617" cy="2709361"/>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eople standing in front of brown cardboard boxes">
            <a:extLst>
              <a:ext uri="{FF2B5EF4-FFF2-40B4-BE49-F238E27FC236}">
                <a16:creationId xmlns:a16="http://schemas.microsoft.com/office/drawing/2014/main" id="{B6331651-8BEB-0754-EDFD-04928A99A93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86501" y="3429000"/>
            <a:ext cx="5462588" cy="2741920"/>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DF04124C-63EE-F4B6-E3F9-F42E895BED7A}"/>
              </a:ext>
            </a:extLst>
          </p:cNvPr>
          <p:cNvGrpSpPr/>
          <p:nvPr/>
        </p:nvGrpSpPr>
        <p:grpSpPr>
          <a:xfrm>
            <a:off x="9042363" y="126781"/>
            <a:ext cx="2706725" cy="217488"/>
            <a:chOff x="8561592" y="126781"/>
            <a:chExt cx="2706725" cy="217488"/>
          </a:xfrm>
        </p:grpSpPr>
        <p:sp>
          <p:nvSpPr>
            <p:cNvPr id="18" name="Rectangle 17">
              <a:extLst>
                <a:ext uri="{FF2B5EF4-FFF2-40B4-BE49-F238E27FC236}">
                  <a16:creationId xmlns:a16="http://schemas.microsoft.com/office/drawing/2014/main" id="{3EB9D456-965E-D368-C4EB-618C59097ED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16423043-6971-D19F-1DED-BD85DF3A3A09}"/>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0" name="Rectangle 19">
              <a:extLst>
                <a:ext uri="{FF2B5EF4-FFF2-40B4-BE49-F238E27FC236}">
                  <a16:creationId xmlns:a16="http://schemas.microsoft.com/office/drawing/2014/main" id="{B7389DE4-5328-93D0-E597-93D57055B666}"/>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1" name="Rectangle 20">
              <a:extLst>
                <a:ext uri="{FF2B5EF4-FFF2-40B4-BE49-F238E27FC236}">
                  <a16:creationId xmlns:a16="http://schemas.microsoft.com/office/drawing/2014/main" id="{AC519D45-3129-533D-864C-DE749849799B}"/>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7" name="Rectangle 6">
            <a:extLst>
              <a:ext uri="{FF2B5EF4-FFF2-40B4-BE49-F238E27FC236}">
                <a16:creationId xmlns:a16="http://schemas.microsoft.com/office/drawing/2014/main" id="{E2F58678-2E06-AE72-F788-A179551AA6D3}"/>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60076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B1C3E673-6ACE-3E5E-3D1A-4275029161A7}"/>
              </a:ext>
            </a:extLst>
          </p:cNvPr>
          <p:cNvSpPr/>
          <p:nvPr/>
        </p:nvSpPr>
        <p:spPr>
          <a:xfrm>
            <a:off x="6275389" y="5699742"/>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3/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75E39A38-2FBC-4014-9D62-16551DC18F88}" type="slidenum">
              <a:rPr lang="lv-LV" altLang="en-US" noProof="0"/>
              <a:pPr lvl="0"/>
              <a:t>11</a:t>
            </a:fld>
            <a:endParaRPr lang="lv-LV" altLang="en-US" noProof="0"/>
          </a:p>
        </p:txBody>
      </p:sp>
      <p:sp>
        <p:nvSpPr>
          <p:cNvPr id="20" name="Satura vietturis 2">
            <a:extLst>
              <a:ext uri="{FF2B5EF4-FFF2-40B4-BE49-F238E27FC236}">
                <a16:creationId xmlns:a16="http://schemas.microsoft.com/office/drawing/2014/main" id="{D00887AE-A2F7-DF52-10F1-E42D41D09DA7}"/>
              </a:ext>
            </a:extLst>
          </p:cNvPr>
          <p:cNvSpPr txBox="1">
            <a:spLocks/>
          </p:cNvSpPr>
          <p:nvPr/>
        </p:nvSpPr>
        <p:spPr>
          <a:xfrm>
            <a:off x="1139874" y="1819275"/>
            <a:ext cx="4776739"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pPr>
            <a:r>
              <a:rPr lang="lv-LV" altLang="lv-LV" sz="1600" b="1">
                <a:solidFill>
                  <a:schemeClr val="tx1"/>
                </a:solidFill>
              </a:rPr>
              <a:t>Savlaicīgi prognozēt katastrofas draudus.</a:t>
            </a:r>
            <a:endParaRPr lang="en-US" altLang="lv-LV" sz="1600" b="1">
              <a:solidFill>
                <a:schemeClr val="tx1"/>
              </a:solidFill>
            </a:endParaRPr>
          </a:p>
        </p:txBody>
      </p:sp>
      <p:sp>
        <p:nvSpPr>
          <p:cNvPr id="21" name="Rectangle 20">
            <a:extLst>
              <a:ext uri="{FF2B5EF4-FFF2-40B4-BE49-F238E27FC236}">
                <a16:creationId xmlns:a16="http://schemas.microsoft.com/office/drawing/2014/main" id="{882C6D4A-DEC5-CEE3-00ED-DF835F7BA7C9}"/>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3</a:t>
            </a:r>
          </a:p>
        </p:txBody>
      </p:sp>
      <p:pic>
        <p:nvPicPr>
          <p:cNvPr id="5" name="Picture 2" descr="woman in black polo shirt using black laptop computer">
            <a:extLst>
              <a:ext uri="{FF2B5EF4-FFF2-40B4-BE49-F238E27FC236}">
                <a16:creationId xmlns:a16="http://schemas.microsoft.com/office/drawing/2014/main" id="{D9667B89-AEF5-BAEA-D470-F2FA006CF4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2" y="2774907"/>
            <a:ext cx="5473700" cy="3399498"/>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F277EE02-53A1-EB08-E818-264ADEED9768}"/>
              </a:ext>
            </a:extLst>
          </p:cNvPr>
          <p:cNvSpPr txBox="1">
            <a:spLocks/>
          </p:cNvSpPr>
          <p:nvPr/>
        </p:nvSpPr>
        <p:spPr>
          <a:xfrm>
            <a:off x="6972351" y="1819075"/>
            <a:ext cx="4776736"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dirty="0">
                <a:solidFill>
                  <a:schemeClr val="tx1"/>
                </a:solidFill>
              </a:rPr>
              <a:t>Plānot un savlaicīgi veikt preventīvos pasākumus.</a:t>
            </a:r>
          </a:p>
        </p:txBody>
      </p:sp>
      <p:sp>
        <p:nvSpPr>
          <p:cNvPr id="6" name="Rectangle 5">
            <a:extLst>
              <a:ext uri="{FF2B5EF4-FFF2-40B4-BE49-F238E27FC236}">
                <a16:creationId xmlns:a16="http://schemas.microsoft.com/office/drawing/2014/main" id="{6C5F8644-F998-06C5-9A87-C315F882C5C3}"/>
              </a:ext>
            </a:extLst>
          </p:cNvPr>
          <p:cNvSpPr/>
          <p:nvPr/>
        </p:nvSpPr>
        <p:spPr>
          <a:xfrm>
            <a:off x="6275389" y="18202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4</a:t>
            </a:r>
          </a:p>
        </p:txBody>
      </p:sp>
      <p:sp>
        <p:nvSpPr>
          <p:cNvPr id="7" name="Satura vietturis 2">
            <a:extLst>
              <a:ext uri="{FF2B5EF4-FFF2-40B4-BE49-F238E27FC236}">
                <a16:creationId xmlns:a16="http://schemas.microsoft.com/office/drawing/2014/main" id="{690FC03C-EE0E-522D-3720-25DAF5320621}"/>
              </a:ext>
            </a:extLst>
          </p:cNvPr>
          <p:cNvSpPr txBox="1">
            <a:spLocks/>
          </p:cNvSpPr>
          <p:nvPr/>
        </p:nvSpPr>
        <p:spPr>
          <a:xfrm>
            <a:off x="6972351" y="2751977"/>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Apmācība</a:t>
            </a:r>
            <a:endParaRPr lang="lv-LV" altLang="lv-LV" sz="1600" b="0">
              <a:solidFill>
                <a:schemeClr val="tx1"/>
              </a:solidFill>
              <a:cs typeface="Arial"/>
            </a:endParaRPr>
          </a:p>
        </p:txBody>
      </p:sp>
      <p:sp>
        <p:nvSpPr>
          <p:cNvPr id="8" name="Satura vietturis 2">
            <a:extLst>
              <a:ext uri="{FF2B5EF4-FFF2-40B4-BE49-F238E27FC236}">
                <a16:creationId xmlns:a16="http://schemas.microsoft.com/office/drawing/2014/main" id="{F6B85F06-19BC-338A-CAE2-9010061186D6}"/>
              </a:ext>
            </a:extLst>
          </p:cNvPr>
          <p:cNvSpPr txBox="1">
            <a:spLocks/>
          </p:cNvSpPr>
          <p:nvPr/>
        </p:nvSpPr>
        <p:spPr>
          <a:xfrm>
            <a:off x="6972351" y="3339310"/>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Informēšana</a:t>
            </a:r>
            <a:endParaRPr lang="lv-LV" altLang="lv-LV" sz="1600" b="0">
              <a:solidFill>
                <a:schemeClr val="tx1"/>
              </a:solidFill>
              <a:cs typeface="Arial"/>
            </a:endParaRPr>
          </a:p>
        </p:txBody>
      </p:sp>
      <p:sp>
        <p:nvSpPr>
          <p:cNvPr id="9" name="Satura vietturis 2">
            <a:extLst>
              <a:ext uri="{FF2B5EF4-FFF2-40B4-BE49-F238E27FC236}">
                <a16:creationId xmlns:a16="http://schemas.microsoft.com/office/drawing/2014/main" id="{E89F0155-1604-60A4-238E-7F4E618793A0}"/>
              </a:ext>
            </a:extLst>
          </p:cNvPr>
          <p:cNvSpPr txBox="1">
            <a:spLocks/>
          </p:cNvSpPr>
          <p:nvPr/>
        </p:nvSpPr>
        <p:spPr>
          <a:xfrm>
            <a:off x="6972351" y="3926643"/>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Riska novērtēšana </a:t>
            </a:r>
            <a:endParaRPr lang="lv-LV" altLang="lv-LV" sz="1600" b="0">
              <a:solidFill>
                <a:schemeClr val="tx1"/>
              </a:solidFill>
              <a:cs typeface="Arial"/>
            </a:endParaRPr>
          </a:p>
        </p:txBody>
      </p:sp>
      <p:sp>
        <p:nvSpPr>
          <p:cNvPr id="10" name="Satura vietturis 2">
            <a:extLst>
              <a:ext uri="{FF2B5EF4-FFF2-40B4-BE49-F238E27FC236}">
                <a16:creationId xmlns:a16="http://schemas.microsoft.com/office/drawing/2014/main" id="{BBC32BEA-5F94-9AE3-C643-F68891B6BC41}"/>
              </a:ext>
            </a:extLst>
          </p:cNvPr>
          <p:cNvSpPr txBox="1">
            <a:spLocks/>
          </p:cNvSpPr>
          <p:nvPr/>
        </p:nvSpPr>
        <p:spPr>
          <a:xfrm>
            <a:off x="6972351" y="4513976"/>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Tehnoloģiju uzlabošana</a:t>
            </a:r>
            <a:endParaRPr lang="lv-LV" altLang="lv-LV" sz="1600" b="1">
              <a:solidFill>
                <a:schemeClr val="tx1"/>
              </a:solidFill>
            </a:endParaRPr>
          </a:p>
        </p:txBody>
      </p:sp>
      <p:sp>
        <p:nvSpPr>
          <p:cNvPr id="11" name="Satura vietturis 2">
            <a:extLst>
              <a:ext uri="{FF2B5EF4-FFF2-40B4-BE49-F238E27FC236}">
                <a16:creationId xmlns:a16="http://schemas.microsoft.com/office/drawing/2014/main" id="{B9516693-8896-ED6B-F98F-95396308B6B9}"/>
              </a:ext>
            </a:extLst>
          </p:cNvPr>
          <p:cNvSpPr txBox="1">
            <a:spLocks/>
          </p:cNvSpPr>
          <p:nvPr/>
        </p:nvSpPr>
        <p:spPr>
          <a:xfrm>
            <a:off x="6972351" y="5101309"/>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dirty="0">
                <a:solidFill>
                  <a:schemeClr val="tx1"/>
                </a:solidFill>
              </a:rPr>
              <a:t>Rīcības plānu izstrāde</a:t>
            </a:r>
            <a:endParaRPr lang="lv-LV" altLang="lv-LV" sz="1600" b="0" dirty="0">
              <a:solidFill>
                <a:schemeClr val="tx1"/>
              </a:solidFill>
              <a:cs typeface="Arial"/>
            </a:endParaRPr>
          </a:p>
        </p:txBody>
      </p:sp>
      <p:sp>
        <p:nvSpPr>
          <p:cNvPr id="12" name="Satura vietturis 2">
            <a:extLst>
              <a:ext uri="{FF2B5EF4-FFF2-40B4-BE49-F238E27FC236}">
                <a16:creationId xmlns:a16="http://schemas.microsoft.com/office/drawing/2014/main" id="{09AB400A-1F6B-F7C6-E66F-157E6ED7953D}"/>
              </a:ext>
            </a:extLst>
          </p:cNvPr>
          <p:cNvSpPr txBox="1">
            <a:spLocks/>
          </p:cNvSpPr>
          <p:nvPr/>
        </p:nvSpPr>
        <p:spPr>
          <a:xfrm>
            <a:off x="6972351" y="5700218"/>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Praktiskās mācības</a:t>
            </a:r>
            <a:endParaRPr lang="en-US" altLang="lv-LV" sz="1600" b="0">
              <a:solidFill>
                <a:schemeClr val="tx1"/>
              </a:solidFill>
            </a:endParaRPr>
          </a:p>
        </p:txBody>
      </p:sp>
      <p:sp>
        <p:nvSpPr>
          <p:cNvPr id="13" name="Rectangle 12">
            <a:extLst>
              <a:ext uri="{FF2B5EF4-FFF2-40B4-BE49-F238E27FC236}">
                <a16:creationId xmlns:a16="http://schemas.microsoft.com/office/drawing/2014/main" id="{D932600E-C756-0A24-6690-B0549BD2683F}"/>
              </a:ext>
            </a:extLst>
          </p:cNvPr>
          <p:cNvSpPr/>
          <p:nvPr/>
        </p:nvSpPr>
        <p:spPr>
          <a:xfrm>
            <a:off x="6275389" y="2751610"/>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 name="Rectangle 13">
            <a:extLst>
              <a:ext uri="{FF2B5EF4-FFF2-40B4-BE49-F238E27FC236}">
                <a16:creationId xmlns:a16="http://schemas.microsoft.com/office/drawing/2014/main" id="{6548F2E1-4986-925B-5A3F-162BA22F84B3}"/>
              </a:ext>
            </a:extLst>
          </p:cNvPr>
          <p:cNvSpPr/>
          <p:nvPr/>
        </p:nvSpPr>
        <p:spPr>
          <a:xfrm>
            <a:off x="6275389" y="3339310"/>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 name="Rectangle 14">
            <a:extLst>
              <a:ext uri="{FF2B5EF4-FFF2-40B4-BE49-F238E27FC236}">
                <a16:creationId xmlns:a16="http://schemas.microsoft.com/office/drawing/2014/main" id="{8360A186-E8BF-7883-E014-530FD1AC2A7A}"/>
              </a:ext>
            </a:extLst>
          </p:cNvPr>
          <p:cNvSpPr/>
          <p:nvPr/>
        </p:nvSpPr>
        <p:spPr>
          <a:xfrm>
            <a:off x="6275389" y="3926643"/>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 name="Rectangle 16">
            <a:extLst>
              <a:ext uri="{FF2B5EF4-FFF2-40B4-BE49-F238E27FC236}">
                <a16:creationId xmlns:a16="http://schemas.microsoft.com/office/drawing/2014/main" id="{2A6CF7D3-1D7D-28C7-C4C2-00EA6B552BC1}"/>
              </a:ext>
            </a:extLst>
          </p:cNvPr>
          <p:cNvSpPr/>
          <p:nvPr/>
        </p:nvSpPr>
        <p:spPr>
          <a:xfrm>
            <a:off x="6275389" y="4513976"/>
            <a:ext cx="586800" cy="474663"/>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 name="Rectangle 17">
            <a:extLst>
              <a:ext uri="{FF2B5EF4-FFF2-40B4-BE49-F238E27FC236}">
                <a16:creationId xmlns:a16="http://schemas.microsoft.com/office/drawing/2014/main" id="{BAB65CFD-08D3-1C8F-B8CA-DC263F01A134}"/>
              </a:ext>
            </a:extLst>
          </p:cNvPr>
          <p:cNvSpPr/>
          <p:nvPr/>
        </p:nvSpPr>
        <p:spPr>
          <a:xfrm>
            <a:off x="6275389" y="5101309"/>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Freeform 65">
            <a:extLst>
              <a:ext uri="{FF2B5EF4-FFF2-40B4-BE49-F238E27FC236}">
                <a16:creationId xmlns:a16="http://schemas.microsoft.com/office/drawing/2014/main" id="{9D7F304B-8E08-A764-0833-1C6E014118E7}"/>
              </a:ext>
            </a:extLst>
          </p:cNvPr>
          <p:cNvSpPr>
            <a:spLocks noChangeAspect="1" noEditPoints="1"/>
          </p:cNvSpPr>
          <p:nvPr/>
        </p:nvSpPr>
        <p:spPr bwMode="auto">
          <a:xfrm>
            <a:off x="6380077" y="2799425"/>
            <a:ext cx="377425" cy="379033"/>
          </a:xfrm>
          <a:custGeom>
            <a:avLst/>
            <a:gdLst>
              <a:gd name="T0" fmla="*/ 642 w 704"/>
              <a:gd name="T1" fmla="*/ 314 h 707"/>
              <a:gd name="T2" fmla="*/ 613 w 704"/>
              <a:gd name="T3" fmla="*/ 314 h 707"/>
              <a:gd name="T4" fmla="*/ 613 w 704"/>
              <a:gd name="T5" fmla="*/ 30 h 707"/>
              <a:gd name="T6" fmla="*/ 160 w 704"/>
              <a:gd name="T7" fmla="*/ 30 h 707"/>
              <a:gd name="T8" fmla="*/ 160 w 704"/>
              <a:gd name="T9" fmla="*/ 239 h 707"/>
              <a:gd name="T10" fmla="*/ 130 w 704"/>
              <a:gd name="T11" fmla="*/ 239 h 707"/>
              <a:gd name="T12" fmla="*/ 130 w 704"/>
              <a:gd name="T13" fmla="*/ 0 h 707"/>
              <a:gd name="T14" fmla="*/ 642 w 704"/>
              <a:gd name="T15" fmla="*/ 0 h 707"/>
              <a:gd name="T16" fmla="*/ 642 w 704"/>
              <a:gd name="T17" fmla="*/ 314 h 707"/>
              <a:gd name="T18" fmla="*/ 704 w 704"/>
              <a:gd name="T19" fmla="*/ 349 h 707"/>
              <a:gd name="T20" fmla="*/ 637 w 704"/>
              <a:gd name="T21" fmla="*/ 707 h 707"/>
              <a:gd name="T22" fmla="*/ 3 w 704"/>
              <a:gd name="T23" fmla="*/ 707 h 707"/>
              <a:gd name="T24" fmla="*/ 3 w 704"/>
              <a:gd name="T25" fmla="*/ 707 h 707"/>
              <a:gd name="T26" fmla="*/ 0 w 704"/>
              <a:gd name="T27" fmla="*/ 707 h 707"/>
              <a:gd name="T28" fmla="*/ 0 w 704"/>
              <a:gd name="T29" fmla="*/ 131 h 707"/>
              <a:gd name="T30" fmla="*/ 83 w 704"/>
              <a:gd name="T31" fmla="*/ 131 h 707"/>
              <a:gd name="T32" fmla="*/ 83 w 704"/>
              <a:gd name="T33" fmla="*/ 160 h 707"/>
              <a:gd name="T34" fmla="*/ 31 w 704"/>
              <a:gd name="T35" fmla="*/ 160 h 707"/>
              <a:gd name="T36" fmla="*/ 31 w 704"/>
              <a:gd name="T37" fmla="*/ 533 h 707"/>
              <a:gd name="T38" fmla="*/ 70 w 704"/>
              <a:gd name="T39" fmla="*/ 287 h 707"/>
              <a:gd name="T40" fmla="*/ 275 w 704"/>
              <a:gd name="T41" fmla="*/ 287 h 707"/>
              <a:gd name="T42" fmla="*/ 338 w 704"/>
              <a:gd name="T43" fmla="*/ 349 h 707"/>
              <a:gd name="T44" fmla="*/ 704 w 704"/>
              <a:gd name="T45" fmla="*/ 349 h 707"/>
              <a:gd name="T46" fmla="*/ 669 w 704"/>
              <a:gd name="T47" fmla="*/ 379 h 707"/>
              <a:gd name="T48" fmla="*/ 325 w 704"/>
              <a:gd name="T49" fmla="*/ 379 h 707"/>
              <a:gd name="T50" fmla="*/ 263 w 704"/>
              <a:gd name="T51" fmla="*/ 317 h 707"/>
              <a:gd name="T52" fmla="*/ 96 w 704"/>
              <a:gd name="T53" fmla="*/ 317 h 707"/>
              <a:gd name="T54" fmla="*/ 38 w 704"/>
              <a:gd name="T55" fmla="*/ 676 h 707"/>
              <a:gd name="T56" fmla="*/ 611 w 704"/>
              <a:gd name="T57" fmla="*/ 676 h 707"/>
              <a:gd name="T58" fmla="*/ 669 w 704"/>
              <a:gd name="T59" fmla="*/ 379 h 707"/>
              <a:gd name="T60" fmla="*/ 528 w 704"/>
              <a:gd name="T61" fmla="*/ 131 h 707"/>
              <a:gd name="T62" fmla="*/ 245 w 704"/>
              <a:gd name="T63" fmla="*/ 131 h 707"/>
              <a:gd name="T64" fmla="*/ 245 w 704"/>
              <a:gd name="T65" fmla="*/ 160 h 707"/>
              <a:gd name="T66" fmla="*/ 528 w 704"/>
              <a:gd name="T67" fmla="*/ 160 h 707"/>
              <a:gd name="T68" fmla="*/ 528 w 704"/>
              <a:gd name="T69" fmla="*/ 131 h 707"/>
              <a:gd name="T70" fmla="*/ 528 w 704"/>
              <a:gd name="T71" fmla="*/ 245 h 707"/>
              <a:gd name="T72" fmla="*/ 373 w 704"/>
              <a:gd name="T73" fmla="*/ 245 h 707"/>
              <a:gd name="T74" fmla="*/ 373 w 704"/>
              <a:gd name="T75" fmla="*/ 276 h 707"/>
              <a:gd name="T76" fmla="*/ 528 w 704"/>
              <a:gd name="T77" fmla="*/ 276 h 707"/>
              <a:gd name="T78" fmla="*/ 528 w 704"/>
              <a:gd name="T79" fmla="*/ 245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4" h="707">
                <a:moveTo>
                  <a:pt x="642" y="314"/>
                </a:moveTo>
                <a:lnTo>
                  <a:pt x="613" y="314"/>
                </a:lnTo>
                <a:lnTo>
                  <a:pt x="613" y="30"/>
                </a:lnTo>
                <a:lnTo>
                  <a:pt x="160" y="30"/>
                </a:lnTo>
                <a:lnTo>
                  <a:pt x="160" y="239"/>
                </a:lnTo>
                <a:lnTo>
                  <a:pt x="130" y="239"/>
                </a:lnTo>
                <a:lnTo>
                  <a:pt x="130" y="0"/>
                </a:lnTo>
                <a:lnTo>
                  <a:pt x="642" y="0"/>
                </a:lnTo>
                <a:lnTo>
                  <a:pt x="642" y="314"/>
                </a:lnTo>
                <a:close/>
                <a:moveTo>
                  <a:pt x="704" y="349"/>
                </a:moveTo>
                <a:lnTo>
                  <a:pt x="637" y="707"/>
                </a:lnTo>
                <a:lnTo>
                  <a:pt x="3" y="707"/>
                </a:lnTo>
                <a:lnTo>
                  <a:pt x="3" y="707"/>
                </a:lnTo>
                <a:lnTo>
                  <a:pt x="0" y="707"/>
                </a:lnTo>
                <a:lnTo>
                  <a:pt x="0" y="131"/>
                </a:lnTo>
                <a:lnTo>
                  <a:pt x="83" y="131"/>
                </a:lnTo>
                <a:lnTo>
                  <a:pt x="83" y="160"/>
                </a:lnTo>
                <a:lnTo>
                  <a:pt x="31" y="160"/>
                </a:lnTo>
                <a:lnTo>
                  <a:pt x="31" y="533"/>
                </a:lnTo>
                <a:lnTo>
                  <a:pt x="70" y="287"/>
                </a:lnTo>
                <a:lnTo>
                  <a:pt x="275" y="287"/>
                </a:lnTo>
                <a:lnTo>
                  <a:pt x="338" y="349"/>
                </a:lnTo>
                <a:lnTo>
                  <a:pt x="704" y="349"/>
                </a:lnTo>
                <a:close/>
                <a:moveTo>
                  <a:pt x="669" y="379"/>
                </a:moveTo>
                <a:lnTo>
                  <a:pt x="325" y="379"/>
                </a:lnTo>
                <a:lnTo>
                  <a:pt x="263" y="317"/>
                </a:lnTo>
                <a:lnTo>
                  <a:pt x="96" y="317"/>
                </a:lnTo>
                <a:lnTo>
                  <a:pt x="38" y="676"/>
                </a:lnTo>
                <a:lnTo>
                  <a:pt x="611" y="676"/>
                </a:lnTo>
                <a:lnTo>
                  <a:pt x="669" y="379"/>
                </a:lnTo>
                <a:close/>
                <a:moveTo>
                  <a:pt x="528" y="131"/>
                </a:moveTo>
                <a:lnTo>
                  <a:pt x="245" y="131"/>
                </a:lnTo>
                <a:lnTo>
                  <a:pt x="245" y="160"/>
                </a:lnTo>
                <a:lnTo>
                  <a:pt x="528" y="160"/>
                </a:lnTo>
                <a:lnTo>
                  <a:pt x="528" y="131"/>
                </a:lnTo>
                <a:close/>
                <a:moveTo>
                  <a:pt x="528" y="245"/>
                </a:moveTo>
                <a:lnTo>
                  <a:pt x="373" y="245"/>
                </a:lnTo>
                <a:lnTo>
                  <a:pt x="373" y="276"/>
                </a:lnTo>
                <a:lnTo>
                  <a:pt x="528" y="276"/>
                </a:lnTo>
                <a:lnTo>
                  <a:pt x="528" y="24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p>
        </p:txBody>
      </p:sp>
      <p:grpSp>
        <p:nvGrpSpPr>
          <p:cNvPr id="22" name="Graphic 4">
            <a:extLst>
              <a:ext uri="{FF2B5EF4-FFF2-40B4-BE49-F238E27FC236}">
                <a16:creationId xmlns:a16="http://schemas.microsoft.com/office/drawing/2014/main" id="{0611A7F0-CB5B-65D7-42C0-E72AD53005C1}"/>
              </a:ext>
            </a:extLst>
          </p:cNvPr>
          <p:cNvGrpSpPr/>
          <p:nvPr/>
        </p:nvGrpSpPr>
        <p:grpSpPr>
          <a:xfrm>
            <a:off x="6379877" y="3386935"/>
            <a:ext cx="377825" cy="379413"/>
            <a:chOff x="3520420" y="1114925"/>
            <a:chExt cx="457200" cy="457199"/>
          </a:xfrm>
          <a:solidFill>
            <a:schemeClr val="tx1"/>
          </a:solidFill>
        </p:grpSpPr>
        <p:sp>
          <p:nvSpPr>
            <p:cNvPr id="23" name="Freeform 119">
              <a:extLst>
                <a:ext uri="{FF2B5EF4-FFF2-40B4-BE49-F238E27FC236}">
                  <a16:creationId xmlns:a16="http://schemas.microsoft.com/office/drawing/2014/main" id="{63D5E322-8B49-F3EA-AADF-ECD7CC749EB1}"/>
                </a:ext>
              </a:extLst>
            </p:cNvPr>
            <p:cNvSpPr/>
            <p:nvPr/>
          </p:nvSpPr>
          <p:spPr>
            <a:xfrm>
              <a:off x="3520420" y="1114925"/>
              <a:ext cx="457200" cy="457199"/>
            </a:xfrm>
            <a:custGeom>
              <a:avLst/>
              <a:gdLst>
                <a:gd name="connsiteX0" fmla="*/ 395383 w 457200"/>
                <a:gd name="connsiteY0" fmla="*/ 78486 h 457199"/>
                <a:gd name="connsiteX1" fmla="*/ 395383 w 457200"/>
                <a:gd name="connsiteY1" fmla="*/ 0 h 457199"/>
                <a:gd name="connsiteX2" fmla="*/ 0 w 457200"/>
                <a:gd name="connsiteY2" fmla="*/ 0 h 457199"/>
                <a:gd name="connsiteX3" fmla="*/ 0 w 457200"/>
                <a:gd name="connsiteY3" fmla="*/ 416528 h 457199"/>
                <a:gd name="connsiteX4" fmla="*/ 40640 w 457200"/>
                <a:gd name="connsiteY4" fmla="*/ 457200 h 457199"/>
                <a:gd name="connsiteX5" fmla="*/ 416560 w 457200"/>
                <a:gd name="connsiteY5" fmla="*/ 457200 h 457199"/>
                <a:gd name="connsiteX6" fmla="*/ 457200 w 457200"/>
                <a:gd name="connsiteY6" fmla="*/ 416528 h 457199"/>
                <a:gd name="connsiteX7" fmla="*/ 457200 w 457200"/>
                <a:gd name="connsiteY7" fmla="*/ 78486 h 457199"/>
                <a:gd name="connsiteX8" fmla="*/ 40672 w 457200"/>
                <a:gd name="connsiteY8" fmla="*/ 437706 h 457199"/>
                <a:gd name="connsiteX9" fmla="*/ 19463 w 457200"/>
                <a:gd name="connsiteY9" fmla="*/ 416497 h 457199"/>
                <a:gd name="connsiteX10" fmla="*/ 19463 w 457200"/>
                <a:gd name="connsiteY10" fmla="*/ 19463 h 457199"/>
                <a:gd name="connsiteX11" fmla="*/ 375920 w 457200"/>
                <a:gd name="connsiteY11" fmla="*/ 19463 h 457199"/>
                <a:gd name="connsiteX12" fmla="*/ 375920 w 457200"/>
                <a:gd name="connsiteY12" fmla="*/ 416528 h 457199"/>
                <a:gd name="connsiteX13" fmla="*/ 381889 w 457200"/>
                <a:gd name="connsiteY13" fmla="*/ 437737 h 457199"/>
                <a:gd name="connsiteX14" fmla="*/ 437769 w 457200"/>
                <a:gd name="connsiteY14" fmla="*/ 416497 h 457199"/>
                <a:gd name="connsiteX15" fmla="*/ 417395 w 457200"/>
                <a:gd name="connsiteY15" fmla="*/ 438509 h 457199"/>
                <a:gd name="connsiteX16" fmla="*/ 395383 w 457200"/>
                <a:gd name="connsiteY16" fmla="*/ 418138 h 457199"/>
                <a:gd name="connsiteX17" fmla="*/ 395383 w 457200"/>
                <a:gd name="connsiteY17" fmla="*/ 416497 h 457199"/>
                <a:gd name="connsiteX18" fmla="*/ 395383 w 457200"/>
                <a:gd name="connsiteY18" fmla="*/ 97981 h 457199"/>
                <a:gd name="connsiteX19" fmla="*/ 437769 w 457200"/>
                <a:gd name="connsiteY19" fmla="*/ 97981 h 4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7200" h="457199">
                  <a:moveTo>
                    <a:pt x="395383" y="78486"/>
                  </a:moveTo>
                  <a:lnTo>
                    <a:pt x="395383" y="0"/>
                  </a:lnTo>
                  <a:lnTo>
                    <a:pt x="0" y="0"/>
                  </a:lnTo>
                  <a:lnTo>
                    <a:pt x="0" y="416528"/>
                  </a:lnTo>
                  <a:cubicBezTo>
                    <a:pt x="17" y="438972"/>
                    <a:pt x="18197" y="457165"/>
                    <a:pt x="40640" y="457200"/>
                  </a:cubicBezTo>
                  <a:lnTo>
                    <a:pt x="416560" y="457200"/>
                  </a:lnTo>
                  <a:cubicBezTo>
                    <a:pt x="438995" y="457146"/>
                    <a:pt x="457165" y="438963"/>
                    <a:pt x="457200" y="416528"/>
                  </a:cubicBezTo>
                  <a:lnTo>
                    <a:pt x="457200" y="78486"/>
                  </a:lnTo>
                  <a:close/>
                  <a:moveTo>
                    <a:pt x="40672" y="437706"/>
                  </a:moveTo>
                  <a:cubicBezTo>
                    <a:pt x="28966" y="437686"/>
                    <a:pt x="19480" y="428203"/>
                    <a:pt x="19463" y="416497"/>
                  </a:cubicBezTo>
                  <a:lnTo>
                    <a:pt x="19463" y="19463"/>
                  </a:lnTo>
                  <a:lnTo>
                    <a:pt x="375920" y="19463"/>
                  </a:lnTo>
                  <a:lnTo>
                    <a:pt x="375920" y="416528"/>
                  </a:lnTo>
                  <a:cubicBezTo>
                    <a:pt x="375914" y="424015"/>
                    <a:pt x="377981" y="431356"/>
                    <a:pt x="381889" y="437737"/>
                  </a:cubicBezTo>
                  <a:close/>
                  <a:moveTo>
                    <a:pt x="437769" y="416497"/>
                  </a:moveTo>
                  <a:cubicBezTo>
                    <a:pt x="438223" y="428203"/>
                    <a:pt x="429101" y="438058"/>
                    <a:pt x="417395" y="438509"/>
                  </a:cubicBezTo>
                  <a:cubicBezTo>
                    <a:pt x="405692" y="438963"/>
                    <a:pt x="395837" y="429841"/>
                    <a:pt x="395383" y="418138"/>
                  </a:cubicBezTo>
                  <a:cubicBezTo>
                    <a:pt x="395361" y="417592"/>
                    <a:pt x="395361" y="417043"/>
                    <a:pt x="395383" y="416497"/>
                  </a:cubicBezTo>
                  <a:lnTo>
                    <a:pt x="395383" y="97981"/>
                  </a:lnTo>
                  <a:lnTo>
                    <a:pt x="437769" y="97981"/>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4" name="Freeform 120">
              <a:extLst>
                <a:ext uri="{FF2B5EF4-FFF2-40B4-BE49-F238E27FC236}">
                  <a16:creationId xmlns:a16="http://schemas.microsoft.com/office/drawing/2014/main" id="{7DB30716-14CD-971D-60BD-E2BDF2577F7C}"/>
                </a:ext>
              </a:extLst>
            </p:cNvPr>
            <p:cNvSpPr/>
            <p:nvPr/>
          </p:nvSpPr>
          <p:spPr>
            <a:xfrm>
              <a:off x="3575538" y="1211001"/>
              <a:ext cx="285146" cy="19462"/>
            </a:xfrm>
            <a:custGeom>
              <a:avLst/>
              <a:gdLst>
                <a:gd name="connsiteX0" fmla="*/ 0 w 285146"/>
                <a:gd name="connsiteY0" fmla="*/ 0 h 19462"/>
                <a:gd name="connsiteX1" fmla="*/ 285147 w 285146"/>
                <a:gd name="connsiteY1" fmla="*/ 0 h 19462"/>
                <a:gd name="connsiteX2" fmla="*/ 285147 w 285146"/>
                <a:gd name="connsiteY2" fmla="*/ 19463 h 19462"/>
                <a:gd name="connsiteX3" fmla="*/ 0 w 28514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146" h="19462">
                  <a:moveTo>
                    <a:pt x="0" y="0"/>
                  </a:moveTo>
                  <a:lnTo>
                    <a:pt x="285147" y="0"/>
                  </a:lnTo>
                  <a:lnTo>
                    <a:pt x="285147"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5" name="Freeform 121">
              <a:extLst>
                <a:ext uri="{FF2B5EF4-FFF2-40B4-BE49-F238E27FC236}">
                  <a16:creationId xmlns:a16="http://schemas.microsoft.com/office/drawing/2014/main" id="{F7E0F335-A7FF-A552-59D7-0D8AB5933627}"/>
                </a:ext>
              </a:extLst>
            </p:cNvPr>
            <p:cNvSpPr/>
            <p:nvPr/>
          </p:nvSpPr>
          <p:spPr>
            <a:xfrm>
              <a:off x="3575538" y="127440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6" name="Freeform 122">
              <a:extLst>
                <a:ext uri="{FF2B5EF4-FFF2-40B4-BE49-F238E27FC236}">
                  <a16:creationId xmlns:a16="http://schemas.microsoft.com/office/drawing/2014/main" id="{A62027C8-9CC6-3678-9C68-449487B386E3}"/>
                </a:ext>
              </a:extLst>
            </p:cNvPr>
            <p:cNvSpPr/>
            <p:nvPr/>
          </p:nvSpPr>
          <p:spPr>
            <a:xfrm>
              <a:off x="3575538" y="1337810"/>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7" name="Freeform 124">
              <a:extLst>
                <a:ext uri="{FF2B5EF4-FFF2-40B4-BE49-F238E27FC236}">
                  <a16:creationId xmlns:a16="http://schemas.microsoft.com/office/drawing/2014/main" id="{9B3449EB-6D95-BB07-E612-6650F369B26C}"/>
                </a:ext>
              </a:extLst>
            </p:cNvPr>
            <p:cNvSpPr/>
            <p:nvPr/>
          </p:nvSpPr>
          <p:spPr>
            <a:xfrm>
              <a:off x="3575538" y="1401215"/>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sp>
          <p:nvSpPr>
            <p:cNvPr id="28" name="Freeform 128">
              <a:extLst>
                <a:ext uri="{FF2B5EF4-FFF2-40B4-BE49-F238E27FC236}">
                  <a16:creationId xmlns:a16="http://schemas.microsoft.com/office/drawing/2014/main" id="{D080DF11-2967-E476-4CAB-291520F841AA}"/>
                </a:ext>
              </a:extLst>
            </p:cNvPr>
            <p:cNvSpPr/>
            <p:nvPr/>
          </p:nvSpPr>
          <p:spPr>
            <a:xfrm>
              <a:off x="3575538" y="1464588"/>
              <a:ext cx="285496" cy="19462"/>
            </a:xfrm>
            <a:custGeom>
              <a:avLst/>
              <a:gdLst>
                <a:gd name="connsiteX0" fmla="*/ 0 w 285496"/>
                <a:gd name="connsiteY0" fmla="*/ 0 h 19462"/>
                <a:gd name="connsiteX1" fmla="*/ 285496 w 285496"/>
                <a:gd name="connsiteY1" fmla="*/ 0 h 19462"/>
                <a:gd name="connsiteX2" fmla="*/ 285496 w 285496"/>
                <a:gd name="connsiteY2" fmla="*/ 19463 h 19462"/>
                <a:gd name="connsiteX3" fmla="*/ 0 w 285496"/>
                <a:gd name="connsiteY3" fmla="*/ 19463 h 19462"/>
              </a:gdLst>
              <a:ahLst/>
              <a:cxnLst>
                <a:cxn ang="0">
                  <a:pos x="connsiteX0" y="connsiteY0"/>
                </a:cxn>
                <a:cxn ang="0">
                  <a:pos x="connsiteX1" y="connsiteY1"/>
                </a:cxn>
                <a:cxn ang="0">
                  <a:pos x="connsiteX2" y="connsiteY2"/>
                </a:cxn>
                <a:cxn ang="0">
                  <a:pos x="connsiteX3" y="connsiteY3"/>
                </a:cxn>
              </a:cxnLst>
              <a:rect l="l" t="t" r="r" b="b"/>
              <a:pathLst>
                <a:path w="285496" h="19462">
                  <a:moveTo>
                    <a:pt x="0" y="0"/>
                  </a:moveTo>
                  <a:lnTo>
                    <a:pt x="285496" y="0"/>
                  </a:lnTo>
                  <a:lnTo>
                    <a:pt x="285496" y="19463"/>
                  </a:lnTo>
                  <a:lnTo>
                    <a:pt x="0" y="19463"/>
                  </a:lnTo>
                  <a:close/>
                </a:path>
              </a:pathLst>
            </a:custGeom>
            <a:grp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00">
                <a:solidFill>
                  <a:schemeClr val="accent1"/>
                </a:solidFill>
              </a:endParaRPr>
            </a:p>
          </p:txBody>
        </p:sp>
      </p:grpSp>
      <p:sp>
        <p:nvSpPr>
          <p:cNvPr id="29" name="Freeform 37">
            <a:extLst>
              <a:ext uri="{FF2B5EF4-FFF2-40B4-BE49-F238E27FC236}">
                <a16:creationId xmlns:a16="http://schemas.microsoft.com/office/drawing/2014/main" id="{66D57A5C-9C92-E4DF-A93F-2B10F7A99018}"/>
              </a:ext>
            </a:extLst>
          </p:cNvPr>
          <p:cNvSpPr>
            <a:spLocks noChangeAspect="1" noEditPoints="1"/>
          </p:cNvSpPr>
          <p:nvPr/>
        </p:nvSpPr>
        <p:spPr bwMode="auto">
          <a:xfrm>
            <a:off x="6379877" y="3974268"/>
            <a:ext cx="377825" cy="379413"/>
          </a:xfrm>
          <a:custGeom>
            <a:avLst/>
            <a:gdLst>
              <a:gd name="T0" fmla="*/ 576 w 576"/>
              <a:gd name="T1" fmla="*/ 0 h 576"/>
              <a:gd name="T2" fmla="*/ 236 w 576"/>
              <a:gd name="T3" fmla="*/ 451 h 576"/>
              <a:gd name="T4" fmla="*/ 378 w 576"/>
              <a:gd name="T5" fmla="*/ 433 h 576"/>
              <a:gd name="T6" fmla="*/ 495 w 576"/>
              <a:gd name="T7" fmla="*/ 551 h 576"/>
              <a:gd name="T8" fmla="*/ 148 w 576"/>
              <a:gd name="T9" fmla="*/ 369 h 576"/>
              <a:gd name="T10" fmla="*/ 165 w 576"/>
              <a:gd name="T11" fmla="*/ 369 h 576"/>
              <a:gd name="T12" fmla="*/ 120 w 576"/>
              <a:gd name="T13" fmla="*/ 345 h 576"/>
              <a:gd name="T14" fmla="*/ 119 w 576"/>
              <a:gd name="T15" fmla="*/ 231 h 576"/>
              <a:gd name="T16" fmla="*/ 161 w 576"/>
              <a:gd name="T17" fmla="*/ 156 h 576"/>
              <a:gd name="T18" fmla="*/ 193 w 576"/>
              <a:gd name="T19" fmla="*/ 127 h 576"/>
              <a:gd name="T20" fmla="*/ 400 w 576"/>
              <a:gd name="T21" fmla="*/ 158 h 576"/>
              <a:gd name="T22" fmla="*/ 452 w 576"/>
              <a:gd name="T23" fmla="*/ 158 h 576"/>
              <a:gd name="T24" fmla="*/ 482 w 576"/>
              <a:gd name="T25" fmla="*/ 190 h 576"/>
              <a:gd name="T26" fmla="*/ 501 w 576"/>
              <a:gd name="T27" fmla="*/ 298 h 576"/>
              <a:gd name="T28" fmla="*/ 486 w 576"/>
              <a:gd name="T29" fmla="*/ 336 h 576"/>
              <a:gd name="T30" fmla="*/ 472 w 576"/>
              <a:gd name="T31" fmla="*/ 398 h 576"/>
              <a:gd name="T32" fmla="*/ 359 w 576"/>
              <a:gd name="T33" fmla="*/ 414 h 576"/>
              <a:gd name="T34" fmla="*/ 296 w 576"/>
              <a:gd name="T35" fmla="*/ 402 h 576"/>
              <a:gd name="T36" fmla="*/ 157 w 576"/>
              <a:gd name="T37" fmla="*/ 394 h 576"/>
              <a:gd name="T38" fmla="*/ 426 w 576"/>
              <a:gd name="T39" fmla="*/ 139 h 576"/>
              <a:gd name="T40" fmla="*/ 486 w 576"/>
              <a:gd name="T41" fmla="*/ 350 h 576"/>
              <a:gd name="T42" fmla="*/ 520 w 576"/>
              <a:gd name="T43" fmla="*/ 551 h 576"/>
              <a:gd name="T44" fmla="*/ 531 w 576"/>
              <a:gd name="T45" fmla="*/ 286 h 576"/>
              <a:gd name="T46" fmla="*/ 52 w 576"/>
              <a:gd name="T47" fmla="*/ 510 h 576"/>
              <a:gd name="T48" fmla="*/ 176 w 576"/>
              <a:gd name="T49" fmla="*/ 478 h 576"/>
              <a:gd name="T50" fmla="*/ 551 w 576"/>
              <a:gd name="T51" fmla="*/ 25 h 576"/>
              <a:gd name="T52" fmla="*/ 193 w 576"/>
              <a:gd name="T53" fmla="*/ 404 h 576"/>
              <a:gd name="T54" fmla="*/ 212 w 576"/>
              <a:gd name="T55" fmla="*/ 345 h 576"/>
              <a:gd name="T56" fmla="*/ 250 w 576"/>
              <a:gd name="T57" fmla="*/ 394 h 576"/>
              <a:gd name="T58" fmla="*/ 231 w 576"/>
              <a:gd name="T59" fmla="*/ 388 h 576"/>
              <a:gd name="T60" fmla="*/ 231 w 576"/>
              <a:gd name="T61" fmla="*/ 388 h 576"/>
              <a:gd name="T62" fmla="*/ 423 w 576"/>
              <a:gd name="T63" fmla="*/ 404 h 576"/>
              <a:gd name="T64" fmla="*/ 187 w 576"/>
              <a:gd name="T65" fmla="*/ 239 h 576"/>
              <a:gd name="T66" fmla="*/ 150 w 576"/>
              <a:gd name="T67" fmla="*/ 288 h 576"/>
              <a:gd name="T68" fmla="*/ 168 w 576"/>
              <a:gd name="T69" fmla="*/ 245 h 576"/>
              <a:gd name="T70" fmla="*/ 283 w 576"/>
              <a:gd name="T71" fmla="*/ 264 h 576"/>
              <a:gd name="T72" fmla="*/ 231 w 576"/>
              <a:gd name="T73" fmla="*/ 264 h 576"/>
              <a:gd name="T74" fmla="*/ 278 w 576"/>
              <a:gd name="T75" fmla="*/ 285 h 576"/>
              <a:gd name="T76" fmla="*/ 267 w 576"/>
              <a:gd name="T77" fmla="*/ 404 h 576"/>
              <a:gd name="T78" fmla="*/ 343 w 576"/>
              <a:gd name="T79" fmla="*/ 399 h 576"/>
              <a:gd name="T80" fmla="*/ 283 w 576"/>
              <a:gd name="T81" fmla="*/ 265 h 576"/>
              <a:gd name="T82" fmla="*/ 257 w 576"/>
              <a:gd name="T83" fmla="*/ 245 h 576"/>
              <a:gd name="T84" fmla="*/ 382 w 576"/>
              <a:gd name="T85" fmla="*/ 294 h 576"/>
              <a:gd name="T86" fmla="*/ 305 w 576"/>
              <a:gd name="T87" fmla="*/ 294 h 576"/>
              <a:gd name="T88" fmla="*/ 203 w 576"/>
              <a:gd name="T89" fmla="*/ 231 h 576"/>
              <a:gd name="T90" fmla="*/ 461 w 576"/>
              <a:gd name="T91" fmla="*/ 288 h 576"/>
              <a:gd name="T92" fmla="*/ 424 w 576"/>
              <a:gd name="T93" fmla="*/ 239 h 576"/>
              <a:gd name="T94" fmla="*/ 442 w 576"/>
              <a:gd name="T95" fmla="*/ 245 h 576"/>
              <a:gd name="T96" fmla="*/ 442 w 576"/>
              <a:gd name="T97" fmla="*/ 245 h 576"/>
              <a:gd name="T98" fmla="*/ 250 w 576"/>
              <a:gd name="T99" fmla="*/ 133 h 576"/>
              <a:gd name="T100" fmla="*/ 213 w 576"/>
              <a:gd name="T101" fmla="*/ 183 h 576"/>
              <a:gd name="T102" fmla="*/ 232 w 576"/>
              <a:gd name="T103" fmla="*/ 177 h 576"/>
              <a:gd name="T104" fmla="*/ 271 w 576"/>
              <a:gd name="T105" fmla="*/ 193 h 576"/>
              <a:gd name="T106" fmla="*/ 329 w 576"/>
              <a:gd name="T107" fmla="*/ 192 h 576"/>
              <a:gd name="T108" fmla="*/ 329 w 576"/>
              <a:gd name="T109" fmla="*/ 125 h 576"/>
              <a:gd name="T110" fmla="*/ 329 w 576"/>
              <a:gd name="T111" fmla="*/ 192 h 576"/>
              <a:gd name="T112" fmla="*/ 320 w 576"/>
              <a:gd name="T113" fmla="*/ 158 h 576"/>
              <a:gd name="T114" fmla="*/ 368 w 576"/>
              <a:gd name="T115" fmla="*/ 12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192" y="551"/>
                </a:moveTo>
                <a:cubicBezTo>
                  <a:pt x="203" y="485"/>
                  <a:pt x="203" y="485"/>
                  <a:pt x="203" y="485"/>
                </a:cubicBezTo>
                <a:cubicBezTo>
                  <a:pt x="208" y="469"/>
                  <a:pt x="221" y="457"/>
                  <a:pt x="236" y="451"/>
                </a:cubicBezTo>
                <a:cubicBezTo>
                  <a:pt x="304" y="428"/>
                  <a:pt x="304" y="428"/>
                  <a:pt x="304" y="428"/>
                </a:cubicBezTo>
                <a:cubicBezTo>
                  <a:pt x="308" y="433"/>
                  <a:pt x="308" y="433"/>
                  <a:pt x="308" y="433"/>
                </a:cubicBezTo>
                <a:cubicBezTo>
                  <a:pt x="318" y="443"/>
                  <a:pt x="330" y="448"/>
                  <a:pt x="343" y="448"/>
                </a:cubicBezTo>
                <a:cubicBezTo>
                  <a:pt x="357" y="448"/>
                  <a:pt x="369" y="443"/>
                  <a:pt x="378" y="433"/>
                </a:cubicBezTo>
                <a:cubicBezTo>
                  <a:pt x="383" y="428"/>
                  <a:pt x="383" y="428"/>
                  <a:pt x="383" y="428"/>
                </a:cubicBezTo>
                <a:cubicBezTo>
                  <a:pt x="450" y="451"/>
                  <a:pt x="450" y="451"/>
                  <a:pt x="450" y="451"/>
                </a:cubicBezTo>
                <a:cubicBezTo>
                  <a:pt x="466" y="457"/>
                  <a:pt x="479" y="469"/>
                  <a:pt x="484" y="485"/>
                </a:cubicBezTo>
                <a:cubicBezTo>
                  <a:pt x="495" y="551"/>
                  <a:pt x="495" y="551"/>
                  <a:pt x="495" y="551"/>
                </a:cubicBezTo>
                <a:lnTo>
                  <a:pt x="192" y="551"/>
                </a:lnTo>
                <a:close/>
                <a:moveTo>
                  <a:pt x="129" y="369"/>
                </a:moveTo>
                <a:cubicBezTo>
                  <a:pt x="130" y="355"/>
                  <a:pt x="133" y="350"/>
                  <a:pt x="139" y="350"/>
                </a:cubicBezTo>
                <a:cubicBezTo>
                  <a:pt x="145" y="350"/>
                  <a:pt x="148" y="356"/>
                  <a:pt x="148" y="369"/>
                </a:cubicBezTo>
                <a:cubicBezTo>
                  <a:pt x="148" y="382"/>
                  <a:pt x="145" y="388"/>
                  <a:pt x="140" y="388"/>
                </a:cubicBezTo>
                <a:cubicBezTo>
                  <a:pt x="136" y="382"/>
                  <a:pt x="133" y="376"/>
                  <a:pt x="129" y="369"/>
                </a:cubicBezTo>
                <a:close/>
                <a:moveTo>
                  <a:pt x="157" y="394"/>
                </a:moveTo>
                <a:cubicBezTo>
                  <a:pt x="162" y="388"/>
                  <a:pt x="165" y="379"/>
                  <a:pt x="165" y="369"/>
                </a:cubicBezTo>
                <a:cubicBezTo>
                  <a:pt x="165" y="359"/>
                  <a:pt x="162" y="350"/>
                  <a:pt x="157" y="345"/>
                </a:cubicBezTo>
                <a:cubicBezTo>
                  <a:pt x="152" y="339"/>
                  <a:pt x="146" y="336"/>
                  <a:pt x="139" y="336"/>
                </a:cubicBezTo>
                <a:cubicBezTo>
                  <a:pt x="132" y="336"/>
                  <a:pt x="125" y="339"/>
                  <a:pt x="120" y="345"/>
                </a:cubicBezTo>
                <a:cubicBezTo>
                  <a:pt x="120" y="345"/>
                  <a:pt x="120" y="345"/>
                  <a:pt x="120" y="345"/>
                </a:cubicBezTo>
                <a:cubicBezTo>
                  <a:pt x="116" y="330"/>
                  <a:pt x="113" y="314"/>
                  <a:pt x="112" y="298"/>
                </a:cubicBezTo>
                <a:cubicBezTo>
                  <a:pt x="130" y="298"/>
                  <a:pt x="130" y="298"/>
                  <a:pt x="130" y="298"/>
                </a:cubicBezTo>
                <a:cubicBezTo>
                  <a:pt x="130" y="231"/>
                  <a:pt x="130" y="231"/>
                  <a:pt x="130" y="231"/>
                </a:cubicBezTo>
                <a:cubicBezTo>
                  <a:pt x="119" y="231"/>
                  <a:pt x="119" y="231"/>
                  <a:pt x="119" y="231"/>
                </a:cubicBezTo>
                <a:cubicBezTo>
                  <a:pt x="123" y="217"/>
                  <a:pt x="129" y="204"/>
                  <a:pt x="136" y="192"/>
                </a:cubicBezTo>
                <a:cubicBezTo>
                  <a:pt x="142" y="191"/>
                  <a:pt x="149" y="188"/>
                  <a:pt x="153" y="183"/>
                </a:cubicBezTo>
                <a:cubicBezTo>
                  <a:pt x="158" y="177"/>
                  <a:pt x="161" y="168"/>
                  <a:pt x="161" y="158"/>
                </a:cubicBezTo>
                <a:cubicBezTo>
                  <a:pt x="161" y="158"/>
                  <a:pt x="161" y="157"/>
                  <a:pt x="161" y="156"/>
                </a:cubicBezTo>
                <a:cubicBezTo>
                  <a:pt x="165" y="152"/>
                  <a:pt x="169" y="147"/>
                  <a:pt x="174" y="143"/>
                </a:cubicBezTo>
                <a:cubicBezTo>
                  <a:pt x="174" y="193"/>
                  <a:pt x="174" y="193"/>
                  <a:pt x="174" y="193"/>
                </a:cubicBezTo>
                <a:cubicBezTo>
                  <a:pt x="193" y="193"/>
                  <a:pt x="193" y="193"/>
                  <a:pt x="193" y="193"/>
                </a:cubicBezTo>
                <a:cubicBezTo>
                  <a:pt x="193" y="127"/>
                  <a:pt x="193" y="127"/>
                  <a:pt x="193" y="127"/>
                </a:cubicBezTo>
                <a:cubicBezTo>
                  <a:pt x="226" y="103"/>
                  <a:pt x="266" y="89"/>
                  <a:pt x="309" y="89"/>
                </a:cubicBezTo>
                <a:cubicBezTo>
                  <a:pt x="352" y="89"/>
                  <a:pt x="391" y="102"/>
                  <a:pt x="423" y="125"/>
                </a:cubicBezTo>
                <a:cubicBezTo>
                  <a:pt x="417" y="126"/>
                  <a:pt x="412" y="129"/>
                  <a:pt x="408" y="133"/>
                </a:cubicBezTo>
                <a:cubicBezTo>
                  <a:pt x="402" y="139"/>
                  <a:pt x="400" y="148"/>
                  <a:pt x="400" y="158"/>
                </a:cubicBezTo>
                <a:cubicBezTo>
                  <a:pt x="400" y="168"/>
                  <a:pt x="403" y="177"/>
                  <a:pt x="408" y="183"/>
                </a:cubicBezTo>
                <a:cubicBezTo>
                  <a:pt x="412" y="189"/>
                  <a:pt x="419" y="192"/>
                  <a:pt x="426" y="192"/>
                </a:cubicBezTo>
                <a:cubicBezTo>
                  <a:pt x="433" y="192"/>
                  <a:pt x="440" y="188"/>
                  <a:pt x="445" y="183"/>
                </a:cubicBezTo>
                <a:cubicBezTo>
                  <a:pt x="450" y="177"/>
                  <a:pt x="452" y="168"/>
                  <a:pt x="452" y="158"/>
                </a:cubicBezTo>
                <a:cubicBezTo>
                  <a:pt x="452" y="155"/>
                  <a:pt x="452" y="152"/>
                  <a:pt x="452" y="150"/>
                </a:cubicBezTo>
                <a:cubicBezTo>
                  <a:pt x="456" y="154"/>
                  <a:pt x="460" y="159"/>
                  <a:pt x="464" y="163"/>
                </a:cubicBezTo>
                <a:cubicBezTo>
                  <a:pt x="464" y="171"/>
                  <a:pt x="467" y="178"/>
                  <a:pt x="471" y="183"/>
                </a:cubicBezTo>
                <a:cubicBezTo>
                  <a:pt x="474" y="186"/>
                  <a:pt x="478" y="189"/>
                  <a:pt x="482" y="190"/>
                </a:cubicBezTo>
                <a:cubicBezTo>
                  <a:pt x="489" y="203"/>
                  <a:pt x="495" y="217"/>
                  <a:pt x="499" y="231"/>
                </a:cubicBezTo>
                <a:cubicBezTo>
                  <a:pt x="481" y="231"/>
                  <a:pt x="481" y="231"/>
                  <a:pt x="481" y="231"/>
                </a:cubicBezTo>
                <a:cubicBezTo>
                  <a:pt x="481" y="298"/>
                  <a:pt x="481" y="298"/>
                  <a:pt x="481" y="298"/>
                </a:cubicBezTo>
                <a:cubicBezTo>
                  <a:pt x="501" y="298"/>
                  <a:pt x="501" y="298"/>
                  <a:pt x="501" y="298"/>
                </a:cubicBezTo>
                <a:cubicBezTo>
                  <a:pt x="501" y="237"/>
                  <a:pt x="501" y="237"/>
                  <a:pt x="501" y="237"/>
                </a:cubicBezTo>
                <a:cubicBezTo>
                  <a:pt x="505" y="253"/>
                  <a:pt x="507" y="269"/>
                  <a:pt x="507" y="286"/>
                </a:cubicBezTo>
                <a:cubicBezTo>
                  <a:pt x="507" y="305"/>
                  <a:pt x="504" y="323"/>
                  <a:pt x="499" y="340"/>
                </a:cubicBezTo>
                <a:cubicBezTo>
                  <a:pt x="495" y="337"/>
                  <a:pt x="491" y="336"/>
                  <a:pt x="486" y="336"/>
                </a:cubicBezTo>
                <a:cubicBezTo>
                  <a:pt x="479" y="336"/>
                  <a:pt x="472" y="339"/>
                  <a:pt x="467" y="345"/>
                </a:cubicBezTo>
                <a:cubicBezTo>
                  <a:pt x="462" y="350"/>
                  <a:pt x="460" y="359"/>
                  <a:pt x="460" y="369"/>
                </a:cubicBezTo>
                <a:cubicBezTo>
                  <a:pt x="460" y="379"/>
                  <a:pt x="462" y="388"/>
                  <a:pt x="467" y="394"/>
                </a:cubicBezTo>
                <a:cubicBezTo>
                  <a:pt x="469" y="396"/>
                  <a:pt x="470" y="397"/>
                  <a:pt x="472" y="398"/>
                </a:cubicBezTo>
                <a:cubicBezTo>
                  <a:pt x="466" y="407"/>
                  <a:pt x="460" y="415"/>
                  <a:pt x="452" y="423"/>
                </a:cubicBezTo>
                <a:cubicBezTo>
                  <a:pt x="391" y="402"/>
                  <a:pt x="391" y="402"/>
                  <a:pt x="391" y="402"/>
                </a:cubicBezTo>
                <a:cubicBezTo>
                  <a:pt x="381" y="399"/>
                  <a:pt x="371" y="401"/>
                  <a:pt x="364" y="408"/>
                </a:cubicBezTo>
                <a:cubicBezTo>
                  <a:pt x="359" y="414"/>
                  <a:pt x="359" y="414"/>
                  <a:pt x="359" y="414"/>
                </a:cubicBezTo>
                <a:cubicBezTo>
                  <a:pt x="355" y="418"/>
                  <a:pt x="349" y="420"/>
                  <a:pt x="343" y="420"/>
                </a:cubicBezTo>
                <a:cubicBezTo>
                  <a:pt x="338" y="420"/>
                  <a:pt x="332" y="418"/>
                  <a:pt x="328" y="414"/>
                </a:cubicBezTo>
                <a:cubicBezTo>
                  <a:pt x="323" y="408"/>
                  <a:pt x="323" y="408"/>
                  <a:pt x="323" y="408"/>
                </a:cubicBezTo>
                <a:cubicBezTo>
                  <a:pt x="316" y="401"/>
                  <a:pt x="306" y="399"/>
                  <a:pt x="296" y="402"/>
                </a:cubicBezTo>
                <a:cubicBezTo>
                  <a:pt x="228" y="425"/>
                  <a:pt x="228" y="425"/>
                  <a:pt x="228" y="425"/>
                </a:cubicBezTo>
                <a:cubicBezTo>
                  <a:pt x="215" y="430"/>
                  <a:pt x="203" y="437"/>
                  <a:pt x="194" y="447"/>
                </a:cubicBezTo>
                <a:cubicBezTo>
                  <a:pt x="176" y="434"/>
                  <a:pt x="160" y="418"/>
                  <a:pt x="148" y="401"/>
                </a:cubicBezTo>
                <a:cubicBezTo>
                  <a:pt x="152" y="399"/>
                  <a:pt x="155" y="397"/>
                  <a:pt x="157" y="394"/>
                </a:cubicBezTo>
                <a:close/>
                <a:moveTo>
                  <a:pt x="435" y="158"/>
                </a:moveTo>
                <a:cubicBezTo>
                  <a:pt x="435" y="172"/>
                  <a:pt x="432" y="177"/>
                  <a:pt x="426" y="177"/>
                </a:cubicBezTo>
                <a:cubicBezTo>
                  <a:pt x="417" y="177"/>
                  <a:pt x="417" y="166"/>
                  <a:pt x="417" y="158"/>
                </a:cubicBezTo>
                <a:cubicBezTo>
                  <a:pt x="417" y="144"/>
                  <a:pt x="420" y="139"/>
                  <a:pt x="426" y="139"/>
                </a:cubicBezTo>
                <a:cubicBezTo>
                  <a:pt x="432" y="139"/>
                  <a:pt x="435" y="145"/>
                  <a:pt x="435" y="158"/>
                </a:cubicBezTo>
                <a:close/>
                <a:moveTo>
                  <a:pt x="480" y="386"/>
                </a:moveTo>
                <a:cubicBezTo>
                  <a:pt x="477" y="382"/>
                  <a:pt x="477" y="375"/>
                  <a:pt x="477" y="369"/>
                </a:cubicBezTo>
                <a:cubicBezTo>
                  <a:pt x="477" y="355"/>
                  <a:pt x="480" y="350"/>
                  <a:pt x="486" y="350"/>
                </a:cubicBezTo>
                <a:cubicBezTo>
                  <a:pt x="490" y="350"/>
                  <a:pt x="492" y="352"/>
                  <a:pt x="494" y="357"/>
                </a:cubicBezTo>
                <a:cubicBezTo>
                  <a:pt x="490" y="367"/>
                  <a:pt x="486" y="376"/>
                  <a:pt x="480" y="386"/>
                </a:cubicBezTo>
                <a:close/>
                <a:moveTo>
                  <a:pt x="551" y="551"/>
                </a:moveTo>
                <a:cubicBezTo>
                  <a:pt x="520" y="551"/>
                  <a:pt x="520" y="551"/>
                  <a:pt x="520" y="551"/>
                </a:cubicBezTo>
                <a:cubicBezTo>
                  <a:pt x="511" y="480"/>
                  <a:pt x="511" y="480"/>
                  <a:pt x="511" y="480"/>
                </a:cubicBezTo>
                <a:cubicBezTo>
                  <a:pt x="511" y="478"/>
                  <a:pt x="511" y="478"/>
                  <a:pt x="511" y="478"/>
                </a:cubicBezTo>
                <a:cubicBezTo>
                  <a:pt x="505" y="459"/>
                  <a:pt x="492" y="443"/>
                  <a:pt x="476" y="433"/>
                </a:cubicBezTo>
                <a:cubicBezTo>
                  <a:pt x="512" y="393"/>
                  <a:pt x="531" y="341"/>
                  <a:pt x="531" y="286"/>
                </a:cubicBezTo>
                <a:cubicBezTo>
                  <a:pt x="531" y="164"/>
                  <a:pt x="432" y="64"/>
                  <a:pt x="309" y="64"/>
                </a:cubicBezTo>
                <a:cubicBezTo>
                  <a:pt x="187" y="64"/>
                  <a:pt x="87" y="164"/>
                  <a:pt x="87" y="286"/>
                </a:cubicBezTo>
                <a:cubicBezTo>
                  <a:pt x="87" y="338"/>
                  <a:pt x="104" y="387"/>
                  <a:pt x="136" y="426"/>
                </a:cubicBezTo>
                <a:cubicBezTo>
                  <a:pt x="52" y="510"/>
                  <a:pt x="52" y="510"/>
                  <a:pt x="52" y="510"/>
                </a:cubicBezTo>
                <a:cubicBezTo>
                  <a:pt x="70" y="527"/>
                  <a:pt x="70" y="527"/>
                  <a:pt x="70" y="527"/>
                </a:cubicBezTo>
                <a:cubicBezTo>
                  <a:pt x="152" y="444"/>
                  <a:pt x="152" y="444"/>
                  <a:pt x="152" y="444"/>
                </a:cubicBezTo>
                <a:cubicBezTo>
                  <a:pt x="161" y="453"/>
                  <a:pt x="170" y="460"/>
                  <a:pt x="180" y="468"/>
                </a:cubicBezTo>
                <a:cubicBezTo>
                  <a:pt x="179" y="471"/>
                  <a:pt x="177" y="474"/>
                  <a:pt x="176" y="478"/>
                </a:cubicBezTo>
                <a:cubicBezTo>
                  <a:pt x="167" y="551"/>
                  <a:pt x="167" y="551"/>
                  <a:pt x="167" y="551"/>
                </a:cubicBezTo>
                <a:cubicBezTo>
                  <a:pt x="25" y="551"/>
                  <a:pt x="25" y="551"/>
                  <a:pt x="25" y="551"/>
                </a:cubicBezTo>
                <a:cubicBezTo>
                  <a:pt x="25" y="25"/>
                  <a:pt x="25" y="25"/>
                  <a:pt x="25" y="25"/>
                </a:cubicBezTo>
                <a:cubicBezTo>
                  <a:pt x="551" y="25"/>
                  <a:pt x="551" y="25"/>
                  <a:pt x="551" y="25"/>
                </a:cubicBezTo>
                <a:lnTo>
                  <a:pt x="551" y="551"/>
                </a:lnTo>
                <a:close/>
                <a:moveTo>
                  <a:pt x="174" y="337"/>
                </a:moveTo>
                <a:cubicBezTo>
                  <a:pt x="193" y="337"/>
                  <a:pt x="193" y="337"/>
                  <a:pt x="193" y="337"/>
                </a:cubicBezTo>
                <a:cubicBezTo>
                  <a:pt x="193" y="404"/>
                  <a:pt x="193" y="404"/>
                  <a:pt x="193" y="404"/>
                </a:cubicBezTo>
                <a:cubicBezTo>
                  <a:pt x="174" y="404"/>
                  <a:pt x="174" y="404"/>
                  <a:pt x="174" y="404"/>
                </a:cubicBezTo>
                <a:lnTo>
                  <a:pt x="174" y="337"/>
                </a:lnTo>
                <a:close/>
                <a:moveTo>
                  <a:pt x="231" y="336"/>
                </a:moveTo>
                <a:cubicBezTo>
                  <a:pt x="224" y="336"/>
                  <a:pt x="217" y="339"/>
                  <a:pt x="212" y="345"/>
                </a:cubicBezTo>
                <a:cubicBezTo>
                  <a:pt x="207" y="350"/>
                  <a:pt x="205" y="359"/>
                  <a:pt x="205" y="369"/>
                </a:cubicBezTo>
                <a:cubicBezTo>
                  <a:pt x="205" y="379"/>
                  <a:pt x="207" y="388"/>
                  <a:pt x="212" y="394"/>
                </a:cubicBezTo>
                <a:cubicBezTo>
                  <a:pt x="217" y="400"/>
                  <a:pt x="224" y="403"/>
                  <a:pt x="231" y="403"/>
                </a:cubicBezTo>
                <a:cubicBezTo>
                  <a:pt x="238" y="403"/>
                  <a:pt x="245" y="399"/>
                  <a:pt x="250" y="394"/>
                </a:cubicBezTo>
                <a:cubicBezTo>
                  <a:pt x="255" y="388"/>
                  <a:pt x="257" y="379"/>
                  <a:pt x="257" y="369"/>
                </a:cubicBezTo>
                <a:cubicBezTo>
                  <a:pt x="257" y="359"/>
                  <a:pt x="254" y="350"/>
                  <a:pt x="250" y="345"/>
                </a:cubicBezTo>
                <a:cubicBezTo>
                  <a:pt x="245" y="339"/>
                  <a:pt x="238" y="336"/>
                  <a:pt x="231" y="336"/>
                </a:cubicBezTo>
                <a:close/>
                <a:moveTo>
                  <a:pt x="231" y="388"/>
                </a:moveTo>
                <a:cubicBezTo>
                  <a:pt x="222" y="388"/>
                  <a:pt x="222" y="377"/>
                  <a:pt x="222" y="369"/>
                </a:cubicBezTo>
                <a:cubicBezTo>
                  <a:pt x="222" y="355"/>
                  <a:pt x="225" y="350"/>
                  <a:pt x="231" y="350"/>
                </a:cubicBezTo>
                <a:cubicBezTo>
                  <a:pt x="237" y="350"/>
                  <a:pt x="240" y="356"/>
                  <a:pt x="240" y="369"/>
                </a:cubicBezTo>
                <a:cubicBezTo>
                  <a:pt x="240" y="383"/>
                  <a:pt x="237" y="388"/>
                  <a:pt x="231" y="388"/>
                </a:cubicBezTo>
                <a:close/>
                <a:moveTo>
                  <a:pt x="423" y="337"/>
                </a:moveTo>
                <a:cubicBezTo>
                  <a:pt x="442" y="337"/>
                  <a:pt x="442" y="337"/>
                  <a:pt x="442" y="337"/>
                </a:cubicBezTo>
                <a:cubicBezTo>
                  <a:pt x="442" y="404"/>
                  <a:pt x="442" y="404"/>
                  <a:pt x="442" y="404"/>
                </a:cubicBezTo>
                <a:cubicBezTo>
                  <a:pt x="423" y="404"/>
                  <a:pt x="423" y="404"/>
                  <a:pt x="423" y="404"/>
                </a:cubicBezTo>
                <a:lnTo>
                  <a:pt x="423" y="337"/>
                </a:lnTo>
                <a:close/>
                <a:moveTo>
                  <a:pt x="187" y="288"/>
                </a:moveTo>
                <a:cubicBezTo>
                  <a:pt x="192" y="282"/>
                  <a:pt x="195" y="274"/>
                  <a:pt x="195" y="264"/>
                </a:cubicBezTo>
                <a:cubicBezTo>
                  <a:pt x="195" y="253"/>
                  <a:pt x="192" y="245"/>
                  <a:pt x="187" y="239"/>
                </a:cubicBezTo>
                <a:cubicBezTo>
                  <a:pt x="182" y="233"/>
                  <a:pt x="175" y="230"/>
                  <a:pt x="168" y="230"/>
                </a:cubicBezTo>
                <a:cubicBezTo>
                  <a:pt x="162" y="230"/>
                  <a:pt x="155" y="233"/>
                  <a:pt x="150" y="239"/>
                </a:cubicBezTo>
                <a:cubicBezTo>
                  <a:pt x="145" y="245"/>
                  <a:pt x="142" y="254"/>
                  <a:pt x="142" y="264"/>
                </a:cubicBezTo>
                <a:cubicBezTo>
                  <a:pt x="142" y="274"/>
                  <a:pt x="145" y="283"/>
                  <a:pt x="150" y="288"/>
                </a:cubicBezTo>
                <a:cubicBezTo>
                  <a:pt x="155" y="294"/>
                  <a:pt x="162" y="297"/>
                  <a:pt x="168" y="297"/>
                </a:cubicBezTo>
                <a:cubicBezTo>
                  <a:pt x="175" y="297"/>
                  <a:pt x="182" y="294"/>
                  <a:pt x="187" y="288"/>
                </a:cubicBezTo>
                <a:close/>
                <a:moveTo>
                  <a:pt x="159" y="264"/>
                </a:moveTo>
                <a:cubicBezTo>
                  <a:pt x="159" y="250"/>
                  <a:pt x="162" y="245"/>
                  <a:pt x="168" y="245"/>
                </a:cubicBezTo>
                <a:cubicBezTo>
                  <a:pt x="174" y="245"/>
                  <a:pt x="178" y="250"/>
                  <a:pt x="178" y="264"/>
                </a:cubicBezTo>
                <a:cubicBezTo>
                  <a:pt x="178" y="277"/>
                  <a:pt x="175" y="283"/>
                  <a:pt x="168" y="283"/>
                </a:cubicBezTo>
                <a:cubicBezTo>
                  <a:pt x="160" y="283"/>
                  <a:pt x="159" y="271"/>
                  <a:pt x="159" y="264"/>
                </a:cubicBezTo>
                <a:close/>
                <a:moveTo>
                  <a:pt x="283" y="264"/>
                </a:moveTo>
                <a:cubicBezTo>
                  <a:pt x="283" y="253"/>
                  <a:pt x="280" y="245"/>
                  <a:pt x="276" y="239"/>
                </a:cubicBezTo>
                <a:cubicBezTo>
                  <a:pt x="271" y="233"/>
                  <a:pt x="264" y="230"/>
                  <a:pt x="257" y="230"/>
                </a:cubicBezTo>
                <a:cubicBezTo>
                  <a:pt x="250" y="230"/>
                  <a:pt x="243" y="233"/>
                  <a:pt x="238" y="239"/>
                </a:cubicBezTo>
                <a:cubicBezTo>
                  <a:pt x="233" y="245"/>
                  <a:pt x="231" y="254"/>
                  <a:pt x="231" y="264"/>
                </a:cubicBezTo>
                <a:cubicBezTo>
                  <a:pt x="231" y="274"/>
                  <a:pt x="233" y="283"/>
                  <a:pt x="238" y="288"/>
                </a:cubicBezTo>
                <a:cubicBezTo>
                  <a:pt x="243" y="294"/>
                  <a:pt x="250" y="297"/>
                  <a:pt x="257" y="297"/>
                </a:cubicBezTo>
                <a:cubicBezTo>
                  <a:pt x="264" y="297"/>
                  <a:pt x="271" y="294"/>
                  <a:pt x="276" y="288"/>
                </a:cubicBezTo>
                <a:cubicBezTo>
                  <a:pt x="277" y="287"/>
                  <a:pt x="277" y="286"/>
                  <a:pt x="278" y="285"/>
                </a:cubicBezTo>
                <a:cubicBezTo>
                  <a:pt x="278" y="288"/>
                  <a:pt x="277" y="291"/>
                  <a:pt x="277" y="294"/>
                </a:cubicBezTo>
                <a:cubicBezTo>
                  <a:pt x="277" y="310"/>
                  <a:pt x="279" y="325"/>
                  <a:pt x="282" y="337"/>
                </a:cubicBezTo>
                <a:cubicBezTo>
                  <a:pt x="267" y="337"/>
                  <a:pt x="267" y="337"/>
                  <a:pt x="267" y="337"/>
                </a:cubicBezTo>
                <a:cubicBezTo>
                  <a:pt x="267" y="404"/>
                  <a:pt x="267" y="404"/>
                  <a:pt x="267" y="404"/>
                </a:cubicBezTo>
                <a:cubicBezTo>
                  <a:pt x="286" y="404"/>
                  <a:pt x="286" y="404"/>
                  <a:pt x="286" y="404"/>
                </a:cubicBezTo>
                <a:cubicBezTo>
                  <a:pt x="286" y="352"/>
                  <a:pt x="286" y="352"/>
                  <a:pt x="286" y="352"/>
                </a:cubicBezTo>
                <a:cubicBezTo>
                  <a:pt x="289" y="361"/>
                  <a:pt x="294" y="369"/>
                  <a:pt x="299" y="375"/>
                </a:cubicBezTo>
                <a:cubicBezTo>
                  <a:pt x="311" y="388"/>
                  <a:pt x="323" y="399"/>
                  <a:pt x="343" y="399"/>
                </a:cubicBezTo>
                <a:cubicBezTo>
                  <a:pt x="364" y="399"/>
                  <a:pt x="376" y="388"/>
                  <a:pt x="388" y="375"/>
                </a:cubicBezTo>
                <a:cubicBezTo>
                  <a:pt x="402" y="359"/>
                  <a:pt x="409" y="331"/>
                  <a:pt x="409" y="294"/>
                </a:cubicBezTo>
                <a:cubicBezTo>
                  <a:pt x="409" y="254"/>
                  <a:pt x="380" y="221"/>
                  <a:pt x="343" y="221"/>
                </a:cubicBezTo>
                <a:cubicBezTo>
                  <a:pt x="317" y="221"/>
                  <a:pt x="293" y="239"/>
                  <a:pt x="283" y="265"/>
                </a:cubicBezTo>
                <a:cubicBezTo>
                  <a:pt x="283" y="264"/>
                  <a:pt x="283" y="264"/>
                  <a:pt x="283" y="264"/>
                </a:cubicBezTo>
                <a:close/>
                <a:moveTo>
                  <a:pt x="257" y="283"/>
                </a:moveTo>
                <a:cubicBezTo>
                  <a:pt x="248" y="283"/>
                  <a:pt x="248" y="271"/>
                  <a:pt x="248" y="264"/>
                </a:cubicBezTo>
                <a:cubicBezTo>
                  <a:pt x="248" y="250"/>
                  <a:pt x="251" y="245"/>
                  <a:pt x="257" y="245"/>
                </a:cubicBezTo>
                <a:cubicBezTo>
                  <a:pt x="263" y="245"/>
                  <a:pt x="266" y="250"/>
                  <a:pt x="266" y="264"/>
                </a:cubicBezTo>
                <a:cubicBezTo>
                  <a:pt x="266" y="277"/>
                  <a:pt x="263" y="283"/>
                  <a:pt x="257" y="283"/>
                </a:cubicBezTo>
                <a:close/>
                <a:moveTo>
                  <a:pt x="343" y="249"/>
                </a:moveTo>
                <a:cubicBezTo>
                  <a:pt x="365" y="249"/>
                  <a:pt x="382" y="269"/>
                  <a:pt x="382" y="294"/>
                </a:cubicBezTo>
                <a:cubicBezTo>
                  <a:pt x="382" y="324"/>
                  <a:pt x="377" y="346"/>
                  <a:pt x="367" y="357"/>
                </a:cubicBezTo>
                <a:cubicBezTo>
                  <a:pt x="356" y="369"/>
                  <a:pt x="351" y="372"/>
                  <a:pt x="343" y="372"/>
                </a:cubicBezTo>
                <a:cubicBezTo>
                  <a:pt x="336" y="372"/>
                  <a:pt x="331" y="369"/>
                  <a:pt x="320" y="357"/>
                </a:cubicBezTo>
                <a:cubicBezTo>
                  <a:pt x="310" y="346"/>
                  <a:pt x="305" y="324"/>
                  <a:pt x="305" y="294"/>
                </a:cubicBezTo>
                <a:cubicBezTo>
                  <a:pt x="305" y="269"/>
                  <a:pt x="322" y="249"/>
                  <a:pt x="343" y="249"/>
                </a:cubicBezTo>
                <a:close/>
                <a:moveTo>
                  <a:pt x="223" y="298"/>
                </a:moveTo>
                <a:cubicBezTo>
                  <a:pt x="203" y="298"/>
                  <a:pt x="203" y="298"/>
                  <a:pt x="203" y="298"/>
                </a:cubicBezTo>
                <a:cubicBezTo>
                  <a:pt x="203" y="231"/>
                  <a:pt x="203" y="231"/>
                  <a:pt x="203" y="231"/>
                </a:cubicBezTo>
                <a:cubicBezTo>
                  <a:pt x="223" y="231"/>
                  <a:pt x="223" y="231"/>
                  <a:pt x="223" y="231"/>
                </a:cubicBezTo>
                <a:lnTo>
                  <a:pt x="223" y="298"/>
                </a:lnTo>
                <a:close/>
                <a:moveTo>
                  <a:pt x="442" y="297"/>
                </a:moveTo>
                <a:cubicBezTo>
                  <a:pt x="449" y="297"/>
                  <a:pt x="456" y="294"/>
                  <a:pt x="461" y="288"/>
                </a:cubicBezTo>
                <a:cubicBezTo>
                  <a:pt x="466" y="282"/>
                  <a:pt x="468" y="274"/>
                  <a:pt x="468" y="264"/>
                </a:cubicBezTo>
                <a:cubicBezTo>
                  <a:pt x="468" y="253"/>
                  <a:pt x="466" y="245"/>
                  <a:pt x="461" y="239"/>
                </a:cubicBezTo>
                <a:cubicBezTo>
                  <a:pt x="456" y="233"/>
                  <a:pt x="449" y="230"/>
                  <a:pt x="442" y="230"/>
                </a:cubicBezTo>
                <a:cubicBezTo>
                  <a:pt x="435" y="230"/>
                  <a:pt x="429" y="233"/>
                  <a:pt x="424" y="239"/>
                </a:cubicBezTo>
                <a:cubicBezTo>
                  <a:pt x="419" y="245"/>
                  <a:pt x="416" y="254"/>
                  <a:pt x="416" y="264"/>
                </a:cubicBezTo>
                <a:cubicBezTo>
                  <a:pt x="416" y="274"/>
                  <a:pt x="419" y="283"/>
                  <a:pt x="424" y="288"/>
                </a:cubicBezTo>
                <a:cubicBezTo>
                  <a:pt x="429" y="294"/>
                  <a:pt x="435" y="297"/>
                  <a:pt x="442" y="297"/>
                </a:cubicBezTo>
                <a:close/>
                <a:moveTo>
                  <a:pt x="442" y="245"/>
                </a:moveTo>
                <a:cubicBezTo>
                  <a:pt x="448" y="245"/>
                  <a:pt x="452" y="250"/>
                  <a:pt x="452" y="264"/>
                </a:cubicBezTo>
                <a:cubicBezTo>
                  <a:pt x="452" y="277"/>
                  <a:pt x="448" y="283"/>
                  <a:pt x="442" y="283"/>
                </a:cubicBezTo>
                <a:cubicBezTo>
                  <a:pt x="433" y="283"/>
                  <a:pt x="433" y="271"/>
                  <a:pt x="433" y="264"/>
                </a:cubicBezTo>
                <a:cubicBezTo>
                  <a:pt x="433" y="250"/>
                  <a:pt x="436" y="245"/>
                  <a:pt x="442" y="245"/>
                </a:cubicBezTo>
                <a:close/>
                <a:moveTo>
                  <a:pt x="232" y="192"/>
                </a:moveTo>
                <a:cubicBezTo>
                  <a:pt x="239" y="192"/>
                  <a:pt x="246" y="188"/>
                  <a:pt x="250" y="183"/>
                </a:cubicBezTo>
                <a:cubicBezTo>
                  <a:pt x="255" y="177"/>
                  <a:pt x="258" y="168"/>
                  <a:pt x="258" y="158"/>
                </a:cubicBezTo>
                <a:cubicBezTo>
                  <a:pt x="258" y="148"/>
                  <a:pt x="255" y="139"/>
                  <a:pt x="250" y="133"/>
                </a:cubicBezTo>
                <a:cubicBezTo>
                  <a:pt x="245" y="128"/>
                  <a:pt x="239" y="125"/>
                  <a:pt x="232" y="125"/>
                </a:cubicBezTo>
                <a:cubicBezTo>
                  <a:pt x="225" y="125"/>
                  <a:pt x="218" y="128"/>
                  <a:pt x="213" y="133"/>
                </a:cubicBezTo>
                <a:cubicBezTo>
                  <a:pt x="208" y="139"/>
                  <a:pt x="206" y="148"/>
                  <a:pt x="206" y="158"/>
                </a:cubicBezTo>
                <a:cubicBezTo>
                  <a:pt x="206" y="168"/>
                  <a:pt x="208" y="177"/>
                  <a:pt x="213" y="183"/>
                </a:cubicBezTo>
                <a:cubicBezTo>
                  <a:pt x="218" y="189"/>
                  <a:pt x="225" y="192"/>
                  <a:pt x="232" y="192"/>
                </a:cubicBezTo>
                <a:close/>
                <a:moveTo>
                  <a:pt x="232" y="139"/>
                </a:moveTo>
                <a:cubicBezTo>
                  <a:pt x="238" y="139"/>
                  <a:pt x="241" y="145"/>
                  <a:pt x="241" y="158"/>
                </a:cubicBezTo>
                <a:cubicBezTo>
                  <a:pt x="241" y="172"/>
                  <a:pt x="238" y="177"/>
                  <a:pt x="232" y="177"/>
                </a:cubicBezTo>
                <a:cubicBezTo>
                  <a:pt x="223" y="177"/>
                  <a:pt x="222" y="166"/>
                  <a:pt x="222" y="158"/>
                </a:cubicBezTo>
                <a:cubicBezTo>
                  <a:pt x="222" y="144"/>
                  <a:pt x="226" y="139"/>
                  <a:pt x="232" y="139"/>
                </a:cubicBezTo>
                <a:close/>
                <a:moveTo>
                  <a:pt x="290" y="193"/>
                </a:moveTo>
                <a:cubicBezTo>
                  <a:pt x="271" y="193"/>
                  <a:pt x="271" y="193"/>
                  <a:pt x="271" y="193"/>
                </a:cubicBezTo>
                <a:cubicBezTo>
                  <a:pt x="271" y="126"/>
                  <a:pt x="271" y="126"/>
                  <a:pt x="271" y="126"/>
                </a:cubicBezTo>
                <a:cubicBezTo>
                  <a:pt x="290" y="126"/>
                  <a:pt x="290" y="126"/>
                  <a:pt x="290" y="126"/>
                </a:cubicBezTo>
                <a:lnTo>
                  <a:pt x="290" y="193"/>
                </a:lnTo>
                <a:close/>
                <a:moveTo>
                  <a:pt x="329" y="192"/>
                </a:moveTo>
                <a:cubicBezTo>
                  <a:pt x="336" y="192"/>
                  <a:pt x="343" y="188"/>
                  <a:pt x="348" y="183"/>
                </a:cubicBezTo>
                <a:cubicBezTo>
                  <a:pt x="353" y="177"/>
                  <a:pt x="355" y="168"/>
                  <a:pt x="355" y="158"/>
                </a:cubicBezTo>
                <a:cubicBezTo>
                  <a:pt x="355" y="148"/>
                  <a:pt x="352" y="139"/>
                  <a:pt x="347" y="133"/>
                </a:cubicBezTo>
                <a:cubicBezTo>
                  <a:pt x="343" y="128"/>
                  <a:pt x="336" y="125"/>
                  <a:pt x="329" y="125"/>
                </a:cubicBezTo>
                <a:cubicBezTo>
                  <a:pt x="322" y="125"/>
                  <a:pt x="315" y="128"/>
                  <a:pt x="310" y="133"/>
                </a:cubicBezTo>
                <a:cubicBezTo>
                  <a:pt x="305" y="139"/>
                  <a:pt x="303" y="148"/>
                  <a:pt x="303" y="158"/>
                </a:cubicBezTo>
                <a:cubicBezTo>
                  <a:pt x="303" y="168"/>
                  <a:pt x="305" y="177"/>
                  <a:pt x="310" y="183"/>
                </a:cubicBezTo>
                <a:cubicBezTo>
                  <a:pt x="315" y="189"/>
                  <a:pt x="322" y="192"/>
                  <a:pt x="329" y="192"/>
                </a:cubicBezTo>
                <a:close/>
                <a:moveTo>
                  <a:pt x="329" y="139"/>
                </a:moveTo>
                <a:cubicBezTo>
                  <a:pt x="335" y="139"/>
                  <a:pt x="338" y="145"/>
                  <a:pt x="338" y="158"/>
                </a:cubicBezTo>
                <a:cubicBezTo>
                  <a:pt x="338" y="172"/>
                  <a:pt x="335" y="177"/>
                  <a:pt x="329" y="177"/>
                </a:cubicBezTo>
                <a:cubicBezTo>
                  <a:pt x="320" y="177"/>
                  <a:pt x="320" y="166"/>
                  <a:pt x="320" y="158"/>
                </a:cubicBezTo>
                <a:cubicBezTo>
                  <a:pt x="320" y="144"/>
                  <a:pt x="323" y="139"/>
                  <a:pt x="329" y="139"/>
                </a:cubicBezTo>
                <a:close/>
                <a:moveTo>
                  <a:pt x="387" y="193"/>
                </a:moveTo>
                <a:cubicBezTo>
                  <a:pt x="368" y="193"/>
                  <a:pt x="368" y="193"/>
                  <a:pt x="368" y="193"/>
                </a:cubicBezTo>
                <a:cubicBezTo>
                  <a:pt x="368" y="126"/>
                  <a:pt x="368" y="126"/>
                  <a:pt x="368" y="126"/>
                </a:cubicBezTo>
                <a:cubicBezTo>
                  <a:pt x="387" y="126"/>
                  <a:pt x="387" y="126"/>
                  <a:pt x="387" y="126"/>
                </a:cubicBezTo>
                <a:lnTo>
                  <a:pt x="387" y="19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30" name="Freeform 28">
            <a:extLst>
              <a:ext uri="{FF2B5EF4-FFF2-40B4-BE49-F238E27FC236}">
                <a16:creationId xmlns:a16="http://schemas.microsoft.com/office/drawing/2014/main" id="{EBC2F5A8-3D4C-BCBE-D1CB-7A91ABB7CE4D}"/>
              </a:ext>
            </a:extLst>
          </p:cNvPr>
          <p:cNvSpPr>
            <a:spLocks noChangeAspect="1" noEditPoints="1"/>
          </p:cNvSpPr>
          <p:nvPr/>
        </p:nvSpPr>
        <p:spPr bwMode="auto">
          <a:xfrm>
            <a:off x="6379877" y="4561601"/>
            <a:ext cx="377825" cy="379413"/>
          </a:xfrm>
          <a:custGeom>
            <a:avLst/>
            <a:gdLst>
              <a:gd name="T0" fmla="*/ 0 w 346"/>
              <a:gd name="T1" fmla="*/ 346 h 346"/>
              <a:gd name="T2" fmla="*/ 346 w 346"/>
              <a:gd name="T3" fmla="*/ 0 h 346"/>
              <a:gd name="T4" fmla="*/ 117 w 346"/>
              <a:gd name="T5" fmla="*/ 90 h 346"/>
              <a:gd name="T6" fmla="*/ 164 w 346"/>
              <a:gd name="T7" fmla="*/ 90 h 346"/>
              <a:gd name="T8" fmla="*/ 117 w 346"/>
              <a:gd name="T9" fmla="*/ 90 h 346"/>
              <a:gd name="T10" fmla="*/ 217 w 346"/>
              <a:gd name="T11" fmla="*/ 332 h 346"/>
              <a:gd name="T12" fmla="*/ 278 w 346"/>
              <a:gd name="T13" fmla="*/ 246 h 346"/>
              <a:gd name="T14" fmla="*/ 309 w 346"/>
              <a:gd name="T15" fmla="*/ 97 h 346"/>
              <a:gd name="T16" fmla="*/ 232 w 346"/>
              <a:gd name="T17" fmla="*/ 97 h 346"/>
              <a:gd name="T18" fmla="*/ 263 w 346"/>
              <a:gd name="T19" fmla="*/ 239 h 346"/>
              <a:gd name="T20" fmla="*/ 202 w 346"/>
              <a:gd name="T21" fmla="*/ 332 h 346"/>
              <a:gd name="T22" fmla="*/ 185 w 346"/>
              <a:gd name="T23" fmla="*/ 259 h 346"/>
              <a:gd name="T24" fmla="*/ 213 w 346"/>
              <a:gd name="T25" fmla="*/ 198 h 346"/>
              <a:gd name="T26" fmla="*/ 205 w 346"/>
              <a:gd name="T27" fmla="*/ 123 h 346"/>
              <a:gd name="T28" fmla="*/ 198 w 346"/>
              <a:gd name="T29" fmla="*/ 198 h 346"/>
              <a:gd name="T30" fmla="*/ 170 w 346"/>
              <a:gd name="T31" fmla="*/ 252 h 346"/>
              <a:gd name="T32" fmla="*/ 153 w 346"/>
              <a:gd name="T33" fmla="*/ 332 h 346"/>
              <a:gd name="T34" fmla="*/ 179 w 346"/>
              <a:gd name="T35" fmla="*/ 90 h 346"/>
              <a:gd name="T36" fmla="*/ 102 w 346"/>
              <a:gd name="T37" fmla="*/ 90 h 346"/>
              <a:gd name="T38" fmla="*/ 138 w 346"/>
              <a:gd name="T39" fmla="*/ 332 h 346"/>
              <a:gd name="T40" fmla="*/ 121 w 346"/>
              <a:gd name="T41" fmla="*/ 237 h 346"/>
              <a:gd name="T42" fmla="*/ 114 w 346"/>
              <a:gd name="T43" fmla="*/ 163 h 346"/>
              <a:gd name="T44" fmla="*/ 38 w 346"/>
              <a:gd name="T45" fmla="*/ 163 h 346"/>
              <a:gd name="T46" fmla="*/ 106 w 346"/>
              <a:gd name="T47" fmla="*/ 242 h 346"/>
              <a:gd name="T48" fmla="*/ 15 w 346"/>
              <a:gd name="T49" fmla="*/ 332 h 346"/>
              <a:gd name="T50" fmla="*/ 331 w 346"/>
              <a:gd name="T51" fmla="*/ 15 h 346"/>
              <a:gd name="T52" fmla="*/ 270 w 346"/>
              <a:gd name="T53" fmla="*/ 120 h 346"/>
              <a:gd name="T54" fmla="*/ 270 w 346"/>
              <a:gd name="T55" fmla="*/ 73 h 346"/>
              <a:gd name="T56" fmla="*/ 270 w 346"/>
              <a:gd name="T57" fmla="*/ 120 h 346"/>
              <a:gd name="T58" fmla="*/ 182 w 346"/>
              <a:gd name="T59" fmla="*/ 161 h 346"/>
              <a:gd name="T60" fmla="*/ 229 w 346"/>
              <a:gd name="T61" fmla="*/ 161 h 346"/>
              <a:gd name="T62" fmla="*/ 52 w 346"/>
              <a:gd name="T63" fmla="*/ 163 h 346"/>
              <a:gd name="T64" fmla="*/ 99 w 346"/>
              <a:gd name="T65" fmla="*/ 163 h 346"/>
              <a:gd name="T66" fmla="*/ 52 w 346"/>
              <a:gd name="T67" fmla="*/ 16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b="1">
              <a:solidFill>
                <a:schemeClr val="accent1"/>
              </a:solidFill>
            </a:endParaRPr>
          </a:p>
        </p:txBody>
      </p:sp>
      <p:grpSp>
        <p:nvGrpSpPr>
          <p:cNvPr id="31" name="Group 30">
            <a:extLst>
              <a:ext uri="{FF2B5EF4-FFF2-40B4-BE49-F238E27FC236}">
                <a16:creationId xmlns:a16="http://schemas.microsoft.com/office/drawing/2014/main" id="{10B97E33-AC27-A853-5AD2-601AF112BC23}"/>
              </a:ext>
            </a:extLst>
          </p:cNvPr>
          <p:cNvGrpSpPr/>
          <p:nvPr/>
        </p:nvGrpSpPr>
        <p:grpSpPr>
          <a:xfrm>
            <a:off x="6379877" y="5148934"/>
            <a:ext cx="377825" cy="379413"/>
            <a:chOff x="5634008" y="2739160"/>
            <a:chExt cx="457200" cy="457200"/>
          </a:xfrm>
        </p:grpSpPr>
        <p:sp>
          <p:nvSpPr>
            <p:cNvPr id="32" name="Freeform 22">
              <a:extLst>
                <a:ext uri="{FF2B5EF4-FFF2-40B4-BE49-F238E27FC236}">
                  <a16:creationId xmlns:a16="http://schemas.microsoft.com/office/drawing/2014/main" id="{D2123281-5A48-6579-F639-1D32C2DF6EFB}"/>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3" name="Freeform 23">
              <a:extLst>
                <a:ext uri="{FF2B5EF4-FFF2-40B4-BE49-F238E27FC236}">
                  <a16:creationId xmlns:a16="http://schemas.microsoft.com/office/drawing/2014/main" id="{078A2BF1-EE88-6D98-9505-AB776E6997E0}"/>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4" name="Freeform 24">
              <a:extLst>
                <a:ext uri="{FF2B5EF4-FFF2-40B4-BE49-F238E27FC236}">
                  <a16:creationId xmlns:a16="http://schemas.microsoft.com/office/drawing/2014/main" id="{A4FF7592-EC3A-2CA6-7179-4080046B0A12}"/>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5" name="Freeform 25">
              <a:extLst>
                <a:ext uri="{FF2B5EF4-FFF2-40B4-BE49-F238E27FC236}">
                  <a16:creationId xmlns:a16="http://schemas.microsoft.com/office/drawing/2014/main" id="{D3E18677-4DB7-80AA-12BD-6B11ED7CD022}"/>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36" name="Freeform 26">
              <a:extLst>
                <a:ext uri="{FF2B5EF4-FFF2-40B4-BE49-F238E27FC236}">
                  <a16:creationId xmlns:a16="http://schemas.microsoft.com/office/drawing/2014/main" id="{189F565A-3603-82E0-FA89-6037543DF440}"/>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sp>
        <p:nvSpPr>
          <p:cNvPr id="37" name="Freeform 109">
            <a:extLst>
              <a:ext uri="{FF2B5EF4-FFF2-40B4-BE49-F238E27FC236}">
                <a16:creationId xmlns:a16="http://schemas.microsoft.com/office/drawing/2014/main" id="{87CE2D81-D77E-8583-6CC4-077396A58F44}"/>
              </a:ext>
            </a:extLst>
          </p:cNvPr>
          <p:cNvSpPr>
            <a:spLocks noChangeAspect="1" noEditPoints="1"/>
          </p:cNvSpPr>
          <p:nvPr/>
        </p:nvSpPr>
        <p:spPr bwMode="auto">
          <a:xfrm>
            <a:off x="6379877" y="5735792"/>
            <a:ext cx="377825" cy="379413"/>
          </a:xfrm>
          <a:custGeom>
            <a:avLst/>
            <a:gdLst>
              <a:gd name="T0" fmla="*/ 179 w 576"/>
              <a:gd name="T1" fmla="*/ 576 h 576"/>
              <a:gd name="T2" fmla="*/ 104 w 576"/>
              <a:gd name="T3" fmla="*/ 270 h 576"/>
              <a:gd name="T4" fmla="*/ 329 w 576"/>
              <a:gd name="T5" fmla="*/ 105 h 576"/>
              <a:gd name="T6" fmla="*/ 435 w 576"/>
              <a:gd name="T7" fmla="*/ 337 h 576"/>
              <a:gd name="T8" fmla="*/ 341 w 576"/>
              <a:gd name="T9" fmla="*/ 450 h 576"/>
              <a:gd name="T10" fmla="*/ 576 w 576"/>
              <a:gd name="T11" fmla="*/ 0 h 576"/>
              <a:gd name="T12" fmla="*/ 366 w 576"/>
              <a:gd name="T13" fmla="*/ 551 h 576"/>
              <a:gd name="T14" fmla="*/ 460 w 576"/>
              <a:gd name="T15" fmla="*/ 406 h 576"/>
              <a:gd name="T16" fmla="*/ 508 w 576"/>
              <a:gd name="T17" fmla="*/ 353 h 576"/>
              <a:gd name="T18" fmla="*/ 329 w 576"/>
              <a:gd name="T19" fmla="*/ 80 h 576"/>
              <a:gd name="T20" fmla="*/ 80 w 576"/>
              <a:gd name="T21" fmla="*/ 270 h 576"/>
              <a:gd name="T22" fmla="*/ 25 w 576"/>
              <a:gd name="T23" fmla="*/ 551 h 576"/>
              <a:gd name="T24" fmla="*/ 551 w 576"/>
              <a:gd name="T25" fmla="*/ 551 h 576"/>
              <a:gd name="T26" fmla="*/ 258 w 576"/>
              <a:gd name="T27" fmla="*/ 213 h 576"/>
              <a:gd name="T28" fmla="*/ 248 w 576"/>
              <a:gd name="T29" fmla="*/ 204 h 576"/>
              <a:gd name="T30" fmla="*/ 212 w 576"/>
              <a:gd name="T31" fmla="*/ 204 h 576"/>
              <a:gd name="T32" fmla="*/ 188 w 576"/>
              <a:gd name="T33" fmla="*/ 204 h 576"/>
              <a:gd name="T34" fmla="*/ 150 w 576"/>
              <a:gd name="T35" fmla="*/ 205 h 576"/>
              <a:gd name="T36" fmla="*/ 143 w 576"/>
              <a:gd name="T37" fmla="*/ 212 h 576"/>
              <a:gd name="T38" fmla="*/ 144 w 576"/>
              <a:gd name="T39" fmla="*/ 248 h 576"/>
              <a:gd name="T40" fmla="*/ 144 w 576"/>
              <a:gd name="T41" fmla="*/ 272 h 576"/>
              <a:gd name="T42" fmla="*/ 142 w 576"/>
              <a:gd name="T43" fmla="*/ 307 h 576"/>
              <a:gd name="T44" fmla="*/ 151 w 576"/>
              <a:gd name="T45" fmla="*/ 316 h 576"/>
              <a:gd name="T46" fmla="*/ 188 w 576"/>
              <a:gd name="T47" fmla="*/ 316 h 576"/>
              <a:gd name="T48" fmla="*/ 212 w 576"/>
              <a:gd name="T49" fmla="*/ 316 h 576"/>
              <a:gd name="T50" fmla="*/ 250 w 576"/>
              <a:gd name="T51" fmla="*/ 315 h 576"/>
              <a:gd name="T52" fmla="*/ 257 w 576"/>
              <a:gd name="T53" fmla="*/ 307 h 576"/>
              <a:gd name="T54" fmla="*/ 256 w 576"/>
              <a:gd name="T55" fmla="*/ 272 h 576"/>
              <a:gd name="T56" fmla="*/ 256 w 576"/>
              <a:gd name="T57" fmla="*/ 248 h 576"/>
              <a:gd name="T58" fmla="*/ 200 w 576"/>
              <a:gd name="T59" fmla="*/ 227 h 576"/>
              <a:gd name="T60" fmla="*/ 167 w 576"/>
              <a:gd name="T61" fmla="*/ 260 h 576"/>
              <a:gd name="T62" fmla="*/ 356 w 576"/>
              <a:gd name="T63" fmla="*/ 210 h 576"/>
              <a:gd name="T64" fmla="*/ 365 w 576"/>
              <a:gd name="T65" fmla="*/ 188 h 576"/>
              <a:gd name="T66" fmla="*/ 368 w 576"/>
              <a:gd name="T67" fmla="*/ 151 h 576"/>
              <a:gd name="T68" fmla="*/ 355 w 576"/>
              <a:gd name="T69" fmla="*/ 138 h 576"/>
              <a:gd name="T70" fmla="*/ 318 w 576"/>
              <a:gd name="T71" fmla="*/ 140 h 576"/>
              <a:gd name="T72" fmla="*/ 295 w 576"/>
              <a:gd name="T73" fmla="*/ 150 h 576"/>
              <a:gd name="T74" fmla="*/ 268 w 576"/>
              <a:gd name="T75" fmla="*/ 172 h 576"/>
              <a:gd name="T76" fmla="*/ 268 w 576"/>
              <a:gd name="T77" fmla="*/ 191 h 576"/>
              <a:gd name="T78" fmla="*/ 295 w 576"/>
              <a:gd name="T79" fmla="*/ 216 h 576"/>
              <a:gd name="T80" fmla="*/ 317 w 576"/>
              <a:gd name="T81" fmla="*/ 226 h 576"/>
              <a:gd name="T82" fmla="*/ 332 w 576"/>
              <a:gd name="T83" fmla="*/ 237 h 576"/>
              <a:gd name="T84" fmla="*/ 306 w 576"/>
              <a:gd name="T85" fmla="*/ 190 h 576"/>
              <a:gd name="T86" fmla="*/ 323 w 576"/>
              <a:gd name="T87" fmla="*/ 165 h 576"/>
              <a:gd name="T88" fmla="*/ 339 w 576"/>
              <a:gd name="T89" fmla="*/ 19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6" h="576">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grpSp>
        <p:nvGrpSpPr>
          <p:cNvPr id="47" name="Group 46">
            <a:extLst>
              <a:ext uri="{FF2B5EF4-FFF2-40B4-BE49-F238E27FC236}">
                <a16:creationId xmlns:a16="http://schemas.microsoft.com/office/drawing/2014/main" id="{2EC21772-CBF5-0036-873F-C995295989D4}"/>
              </a:ext>
            </a:extLst>
          </p:cNvPr>
          <p:cNvGrpSpPr/>
          <p:nvPr/>
        </p:nvGrpSpPr>
        <p:grpSpPr>
          <a:xfrm>
            <a:off x="9042363" y="126781"/>
            <a:ext cx="2706725" cy="217488"/>
            <a:chOff x="8561592" y="126781"/>
            <a:chExt cx="2706725" cy="217488"/>
          </a:xfrm>
        </p:grpSpPr>
        <p:sp>
          <p:nvSpPr>
            <p:cNvPr id="48" name="Rectangle 47">
              <a:extLst>
                <a:ext uri="{FF2B5EF4-FFF2-40B4-BE49-F238E27FC236}">
                  <a16:creationId xmlns:a16="http://schemas.microsoft.com/office/drawing/2014/main" id="{39AD1E4E-C118-0F40-2116-B0B8CF8B64A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49" name="Rectangle 48">
              <a:extLst>
                <a:ext uri="{FF2B5EF4-FFF2-40B4-BE49-F238E27FC236}">
                  <a16:creationId xmlns:a16="http://schemas.microsoft.com/office/drawing/2014/main" id="{C040F01C-6ECE-D656-AD74-F45F71524ACF}"/>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50" name="Rectangle 49">
              <a:extLst>
                <a:ext uri="{FF2B5EF4-FFF2-40B4-BE49-F238E27FC236}">
                  <a16:creationId xmlns:a16="http://schemas.microsoft.com/office/drawing/2014/main" id="{EAEC6807-3108-4339-CD24-66649B85D8B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51" name="Rectangle 50">
              <a:extLst>
                <a:ext uri="{FF2B5EF4-FFF2-40B4-BE49-F238E27FC236}">
                  <a16:creationId xmlns:a16="http://schemas.microsoft.com/office/drawing/2014/main" id="{2FB1900D-7C1D-51B4-BA9E-F56C342A7D05}"/>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38" name="Rectangle 37">
            <a:extLst>
              <a:ext uri="{FF2B5EF4-FFF2-40B4-BE49-F238E27FC236}">
                <a16:creationId xmlns:a16="http://schemas.microsoft.com/office/drawing/2014/main" id="{6AAD7E15-0349-7D6F-3D86-91979518E0DA}"/>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995767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Virsraksts 1">
            <a:extLst>
              <a:ext uri="{FF2B5EF4-FFF2-40B4-BE49-F238E27FC236}">
                <a16:creationId xmlns:a16="http://schemas.microsoft.com/office/drawing/2014/main" id="{31BCF032-D87F-0F6E-A872-246F5359854B}"/>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4/6)</a:t>
            </a:r>
          </a:p>
        </p:txBody>
      </p:sp>
      <p:sp>
        <p:nvSpPr>
          <p:cNvPr id="4" name="Slaida numura vietturis 3">
            <a:extLst>
              <a:ext uri="{FF2B5EF4-FFF2-40B4-BE49-F238E27FC236}">
                <a16:creationId xmlns:a16="http://schemas.microsoft.com/office/drawing/2014/main" id="{049B85BF-116A-554D-65BF-356AC2B1C253}"/>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75E39A38-2FBC-4014-9D62-16551DC18F88}" type="slidenum">
              <a:rPr lang="lv-LV" altLang="en-US" noProof="0"/>
              <a:pPr lvl="0"/>
              <a:t>12</a:t>
            </a:fld>
            <a:endParaRPr lang="lv-LV" altLang="en-US" noProof="0"/>
          </a:p>
        </p:txBody>
      </p:sp>
      <p:sp>
        <p:nvSpPr>
          <p:cNvPr id="21" name="Rectangle 20">
            <a:extLst>
              <a:ext uri="{FF2B5EF4-FFF2-40B4-BE49-F238E27FC236}">
                <a16:creationId xmlns:a16="http://schemas.microsoft.com/office/drawing/2014/main" id="{882C6D4A-DEC5-CEE3-00ED-DF835F7BA7C9}"/>
              </a:ext>
            </a:extLst>
          </p:cNvPr>
          <p:cNvSpPr/>
          <p:nvPr/>
        </p:nvSpPr>
        <p:spPr>
          <a:xfrm>
            <a:off x="442913" y="1819273"/>
            <a:ext cx="586800" cy="109563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5</a:t>
            </a:r>
          </a:p>
        </p:txBody>
      </p:sp>
      <p:pic>
        <p:nvPicPr>
          <p:cNvPr id="2050" name="Picture 2" descr="car on body of water">
            <a:extLst>
              <a:ext uri="{FF2B5EF4-FFF2-40B4-BE49-F238E27FC236}">
                <a16:creationId xmlns:a16="http://schemas.microsoft.com/office/drawing/2014/main" id="{71EFBB0E-271B-B186-361A-D7E218FF2CE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442913" y="3006705"/>
            <a:ext cx="5473700" cy="3159616"/>
          </a:xfrm>
          <a:prstGeom prst="rect">
            <a:avLst/>
          </a:prstGeom>
          <a:noFill/>
          <a:extLst>
            <a:ext uri="{909E8E84-426E-40DD-AFC4-6F175D3DCCD1}">
              <a14:hiddenFill xmlns:a14="http://schemas.microsoft.com/office/drawing/2010/main">
                <a:solidFill>
                  <a:srgbClr val="FFFFFF"/>
                </a:solidFill>
              </a14:hiddenFill>
            </a:ext>
          </a:extLst>
        </p:spPr>
      </p:pic>
      <p:sp>
        <p:nvSpPr>
          <p:cNvPr id="3" name="Satura vietturis 2">
            <a:extLst>
              <a:ext uri="{FF2B5EF4-FFF2-40B4-BE49-F238E27FC236}">
                <a16:creationId xmlns:a16="http://schemas.microsoft.com/office/drawing/2014/main" id="{CB3688F4-C617-B0F7-2B82-C250A4ADF27B}"/>
              </a:ext>
            </a:extLst>
          </p:cNvPr>
          <p:cNvSpPr txBox="1">
            <a:spLocks/>
          </p:cNvSpPr>
          <p:nvPr/>
        </p:nvSpPr>
        <p:spPr>
          <a:xfrm>
            <a:off x="1139874" y="1819274"/>
            <a:ext cx="4776739"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a:solidFill>
                  <a:schemeClr val="tx1"/>
                </a:solidFill>
              </a:rPr>
              <a:t>Sniegt palīdzību katastrofā cietušajiem un mazināt kaitējumu, ko katastrofa radījusi vai var radīt cilvēkiem, videi un īpašumam.</a:t>
            </a:r>
            <a:endParaRPr lang="en-US" altLang="lv-LV" sz="1600" b="1">
              <a:solidFill>
                <a:schemeClr val="tx1"/>
              </a:solidFill>
            </a:endParaRPr>
          </a:p>
        </p:txBody>
      </p:sp>
      <p:sp>
        <p:nvSpPr>
          <p:cNvPr id="8" name="Satura vietturis 2">
            <a:extLst>
              <a:ext uri="{FF2B5EF4-FFF2-40B4-BE49-F238E27FC236}">
                <a16:creationId xmlns:a16="http://schemas.microsoft.com/office/drawing/2014/main" id="{39124F54-1942-C2F0-157A-166E230D3FF2}"/>
              </a:ext>
            </a:extLst>
          </p:cNvPr>
          <p:cNvSpPr txBox="1">
            <a:spLocks/>
          </p:cNvSpPr>
          <p:nvPr/>
        </p:nvSpPr>
        <p:spPr>
          <a:xfrm>
            <a:off x="6972351" y="1819074"/>
            <a:ext cx="4776736" cy="109752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dirty="0">
                <a:solidFill>
                  <a:schemeClr val="tx1"/>
                </a:solidFill>
              </a:rPr>
              <a:t>Plānot un veikt atjaunošanas pasākumus.</a:t>
            </a:r>
            <a:endParaRPr lang="en-US" altLang="lv-LV" sz="1600" b="1" dirty="0">
              <a:solidFill>
                <a:schemeClr val="tx1"/>
              </a:solidFill>
            </a:endParaRPr>
          </a:p>
        </p:txBody>
      </p:sp>
      <p:sp>
        <p:nvSpPr>
          <p:cNvPr id="9" name="Rectangle 8">
            <a:extLst>
              <a:ext uri="{FF2B5EF4-FFF2-40B4-BE49-F238E27FC236}">
                <a16:creationId xmlns:a16="http://schemas.microsoft.com/office/drawing/2014/main" id="{0FD1CCAA-AA54-D5EA-22C8-FE58EB877E11}"/>
              </a:ext>
            </a:extLst>
          </p:cNvPr>
          <p:cNvSpPr/>
          <p:nvPr/>
        </p:nvSpPr>
        <p:spPr>
          <a:xfrm>
            <a:off x="6275389" y="1820286"/>
            <a:ext cx="586800" cy="1095633"/>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2800" b="1"/>
              <a:t>6</a:t>
            </a:r>
            <a:endParaRPr lang="en-US" sz="2800" b="1"/>
          </a:p>
        </p:txBody>
      </p:sp>
      <p:pic>
        <p:nvPicPr>
          <p:cNvPr id="11" name="Picture 2" descr="white concrete house with brown wooden door">
            <a:extLst>
              <a:ext uri="{FF2B5EF4-FFF2-40B4-BE49-F238E27FC236}">
                <a16:creationId xmlns:a16="http://schemas.microsoft.com/office/drawing/2014/main" id="{2056EA70-BE3B-E7DA-90CE-258D168387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275388" y="3006699"/>
            <a:ext cx="5474433" cy="3159728"/>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A1E1AE73-448D-FFCC-C8CE-FFFECB34227F}"/>
              </a:ext>
            </a:extLst>
          </p:cNvPr>
          <p:cNvGrpSpPr/>
          <p:nvPr/>
        </p:nvGrpSpPr>
        <p:grpSpPr>
          <a:xfrm>
            <a:off x="9042363" y="126781"/>
            <a:ext cx="2706725" cy="217488"/>
            <a:chOff x="8561592" y="126781"/>
            <a:chExt cx="2706725" cy="217488"/>
          </a:xfrm>
        </p:grpSpPr>
        <p:sp>
          <p:nvSpPr>
            <p:cNvPr id="25" name="Rectangle 24">
              <a:extLst>
                <a:ext uri="{FF2B5EF4-FFF2-40B4-BE49-F238E27FC236}">
                  <a16:creationId xmlns:a16="http://schemas.microsoft.com/office/drawing/2014/main" id="{3F81B968-28CB-B499-9E32-DAF8FBBF7BDF}"/>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C1090003-2215-6ACA-D270-6B3D1750694C}"/>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7" name="Rectangle 26">
              <a:extLst>
                <a:ext uri="{FF2B5EF4-FFF2-40B4-BE49-F238E27FC236}">
                  <a16:creationId xmlns:a16="http://schemas.microsoft.com/office/drawing/2014/main" id="{303D2EDC-8A61-F89C-D50A-1DBDCB04CC26}"/>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8" name="Rectangle 27">
              <a:extLst>
                <a:ext uri="{FF2B5EF4-FFF2-40B4-BE49-F238E27FC236}">
                  <a16:creationId xmlns:a16="http://schemas.microsoft.com/office/drawing/2014/main" id="{E78DD384-27D8-4A47-B8A1-EBDF7BDF7A57}"/>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BDEA5B67-B8DF-B301-EBD5-23341C64BC10}"/>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2160348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Virsraksts 1">
            <a:extLst>
              <a:ext uri="{FF2B5EF4-FFF2-40B4-BE49-F238E27FC236}">
                <a16:creationId xmlns:a16="http://schemas.microsoft.com/office/drawing/2014/main" id="{A4BD9488-11D2-7D56-B0DA-C0CCA9700C67}"/>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5/6)</a:t>
            </a:r>
          </a:p>
        </p:txBody>
      </p:sp>
      <p:sp>
        <p:nvSpPr>
          <p:cNvPr id="4" name="Slaida numura vietturis 3">
            <a:extLst>
              <a:ext uri="{FF2B5EF4-FFF2-40B4-BE49-F238E27FC236}">
                <a16:creationId xmlns:a16="http://schemas.microsoft.com/office/drawing/2014/main" id="{D9E78712-0850-B0E2-449C-67116CA6DE48}"/>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6D8EC3E3-467C-4DCE-B832-399C9073DD30}" type="slidenum">
              <a:rPr lang="lv-LV" altLang="en-US" noProof="0"/>
              <a:pPr lvl="0"/>
              <a:t>13</a:t>
            </a:fld>
            <a:endParaRPr lang="lv-LV" altLang="en-US" noProof="0"/>
          </a:p>
        </p:txBody>
      </p:sp>
      <p:pic>
        <p:nvPicPr>
          <p:cNvPr id="86022" name="Attēls 6">
            <a:extLst>
              <a:ext uri="{FF2B5EF4-FFF2-40B4-BE49-F238E27FC236}">
                <a16:creationId xmlns:a16="http://schemas.microsoft.com/office/drawing/2014/main" id="{81F2FAE0-775A-C647-CF9E-085521DCE38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913490" y="5520115"/>
            <a:ext cx="62484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sp>
        <p:nvSpPr>
          <p:cNvPr id="14" name="Satura vietturis 2">
            <a:extLst>
              <a:ext uri="{FF2B5EF4-FFF2-40B4-BE49-F238E27FC236}">
                <a16:creationId xmlns:a16="http://schemas.microsoft.com/office/drawing/2014/main" id="{5B9696EC-08B8-A52B-D63E-6210970BB8DC}"/>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1">
                <a:solidFill>
                  <a:schemeClr val="tx1"/>
                </a:solidFill>
              </a:rPr>
              <a:t>Normatīvajos aktos noteiktajā kārtībā sniegt un saņemt starptautisko palīdzību.	</a:t>
            </a:r>
            <a:endParaRPr lang="en-US" altLang="lv-LV" sz="1600" b="1">
              <a:solidFill>
                <a:schemeClr val="tx1"/>
              </a:solidFill>
            </a:endParaRPr>
          </a:p>
        </p:txBody>
      </p:sp>
      <p:sp>
        <p:nvSpPr>
          <p:cNvPr id="15" name="Rectangle 14">
            <a:extLst>
              <a:ext uri="{FF2B5EF4-FFF2-40B4-BE49-F238E27FC236}">
                <a16:creationId xmlns:a16="http://schemas.microsoft.com/office/drawing/2014/main" id="{E14B7706-2431-2ECF-0E13-712806144AE1}"/>
              </a:ext>
            </a:extLst>
          </p:cNvPr>
          <p:cNvSpPr/>
          <p:nvPr/>
        </p:nvSpPr>
        <p:spPr>
          <a:xfrm>
            <a:off x="442912" y="18204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7</a:t>
            </a:r>
          </a:p>
        </p:txBody>
      </p:sp>
      <p:grpSp>
        <p:nvGrpSpPr>
          <p:cNvPr id="3" name="Group 2">
            <a:extLst>
              <a:ext uri="{FF2B5EF4-FFF2-40B4-BE49-F238E27FC236}">
                <a16:creationId xmlns:a16="http://schemas.microsoft.com/office/drawing/2014/main" id="{2F719D13-3DBC-4DE7-9A5C-FA16D1374B38}"/>
              </a:ext>
            </a:extLst>
          </p:cNvPr>
          <p:cNvGrpSpPr/>
          <p:nvPr/>
        </p:nvGrpSpPr>
        <p:grpSpPr>
          <a:xfrm flipH="1">
            <a:off x="6558968" y="3541217"/>
            <a:ext cx="4949732" cy="2485682"/>
            <a:chOff x="6995885" y="2499307"/>
            <a:chExt cx="5040312" cy="3314241"/>
          </a:xfrm>
        </p:grpSpPr>
        <p:sp>
          <p:nvSpPr>
            <p:cNvPr id="9" name="Flowchart: Delay 8">
              <a:extLst>
                <a:ext uri="{FF2B5EF4-FFF2-40B4-BE49-F238E27FC236}">
                  <a16:creationId xmlns:a16="http://schemas.microsoft.com/office/drawing/2014/main" id="{44DE3137-BA01-4E24-A104-ADDACB12F704}"/>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sp>
          <p:nvSpPr>
            <p:cNvPr id="11" name="Flowchart: Delay 8">
              <a:extLst>
                <a:ext uri="{FF2B5EF4-FFF2-40B4-BE49-F238E27FC236}">
                  <a16:creationId xmlns:a16="http://schemas.microsoft.com/office/drawing/2014/main" id="{D188B568-E952-4BA4-890C-2612BFF9D34C}"/>
                </a:ext>
              </a:extLst>
            </p:cNvPr>
            <p:cNvSpPr/>
            <p:nvPr/>
          </p:nvSpPr>
          <p:spPr>
            <a:xfrm flipV="1">
              <a:off x="10029557" y="4157874"/>
              <a:ext cx="1368973" cy="1655674"/>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279400">
              <a:solidFill>
                <a:srgbClr val="CFD6E8"/>
              </a:solidFill>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cxnSp>
          <p:nvCxnSpPr>
            <p:cNvPr id="12" name="Straight Connector 11">
              <a:extLst>
                <a:ext uri="{FF2B5EF4-FFF2-40B4-BE49-F238E27FC236}">
                  <a16:creationId xmlns:a16="http://schemas.microsoft.com/office/drawing/2014/main" id="{96866573-2BB0-402C-AD90-F68BE2CC21F7}"/>
                </a:ext>
              </a:extLst>
            </p:cNvPr>
            <p:cNvCxnSpPr>
              <a:cxnSpLocks/>
              <a:stCxn id="9" idx="4"/>
            </p:cNvCxnSpPr>
            <p:nvPr/>
          </p:nvCxnSpPr>
          <p:spPr>
            <a:xfrm>
              <a:off x="8748425" y="4154980"/>
              <a:ext cx="1281133" cy="1"/>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3" name="Straight Connector 12">
              <a:extLst>
                <a:ext uri="{FF2B5EF4-FFF2-40B4-BE49-F238E27FC236}">
                  <a16:creationId xmlns:a16="http://schemas.microsoft.com/office/drawing/2014/main" id="{5109CBFB-D6A8-4EFF-80C7-8EDC25291300}"/>
                </a:ext>
              </a:extLst>
            </p:cNvPr>
            <p:cNvCxnSpPr>
              <a:cxnSpLocks/>
            </p:cNvCxnSpPr>
            <p:nvPr/>
          </p:nvCxnSpPr>
          <p:spPr>
            <a:xfrm>
              <a:off x="8748425" y="2499307"/>
              <a:ext cx="3287772"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3C28EC49-7AE0-4D16-A90D-3806D0A0785B}"/>
                </a:ext>
              </a:extLst>
            </p:cNvPr>
            <p:cNvCxnSpPr>
              <a:cxnSpLocks/>
            </p:cNvCxnSpPr>
            <p:nvPr/>
          </p:nvCxnSpPr>
          <p:spPr>
            <a:xfrm>
              <a:off x="6995885" y="5813428"/>
              <a:ext cx="3033674" cy="0"/>
            </a:xfrm>
            <a:prstGeom prst="line">
              <a:avLst/>
            </a:prstGeom>
            <a:ln w="279400" cap="sq">
              <a:solidFill>
                <a:srgbClr val="CFD6E8"/>
              </a:solidFill>
            </a:ln>
          </p:spPr>
          <p:style>
            <a:lnRef idx="1">
              <a:schemeClr val="accent1"/>
            </a:lnRef>
            <a:fillRef idx="0">
              <a:schemeClr val="accent1"/>
            </a:fillRef>
            <a:effectRef idx="0">
              <a:schemeClr val="dk1"/>
            </a:effectRef>
            <a:fontRef idx="minor">
              <a:schemeClr val="lt1"/>
            </a:fontRef>
          </p:style>
        </p:cxnSp>
      </p:grpSp>
      <p:grpSp>
        <p:nvGrpSpPr>
          <p:cNvPr id="25" name="Group 24">
            <a:extLst>
              <a:ext uri="{FF2B5EF4-FFF2-40B4-BE49-F238E27FC236}">
                <a16:creationId xmlns:a16="http://schemas.microsoft.com/office/drawing/2014/main" id="{1F71858C-E11B-4B23-9E76-4EBA34F19633}"/>
              </a:ext>
            </a:extLst>
          </p:cNvPr>
          <p:cNvGrpSpPr/>
          <p:nvPr/>
        </p:nvGrpSpPr>
        <p:grpSpPr>
          <a:xfrm flipH="1">
            <a:off x="6569416" y="3534879"/>
            <a:ext cx="4949733" cy="2485591"/>
            <a:chOff x="6995885" y="2499307"/>
            <a:chExt cx="5040312" cy="3314121"/>
          </a:xfrm>
        </p:grpSpPr>
        <p:sp>
          <p:nvSpPr>
            <p:cNvPr id="26" name="Flowchart: Delay 8">
              <a:extLst>
                <a:ext uri="{FF2B5EF4-FFF2-40B4-BE49-F238E27FC236}">
                  <a16:creationId xmlns:a16="http://schemas.microsoft.com/office/drawing/2014/main" id="{8D33311E-2E8A-4253-8442-689A5220206E}"/>
                </a:ext>
              </a:extLst>
            </p:cNvPr>
            <p:cNvSpPr/>
            <p:nvPr/>
          </p:nvSpPr>
          <p:spPr>
            <a:xfrm flipH="1">
              <a:off x="7335417" y="2499307"/>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sp>
          <p:nvSpPr>
            <p:cNvPr id="27" name="Flowchart: Delay 8">
              <a:extLst>
                <a:ext uri="{FF2B5EF4-FFF2-40B4-BE49-F238E27FC236}">
                  <a16:creationId xmlns:a16="http://schemas.microsoft.com/office/drawing/2014/main" id="{1E8A398E-C2D9-4D6E-9D0B-EA3894EF6362}"/>
                </a:ext>
              </a:extLst>
            </p:cNvPr>
            <p:cNvSpPr/>
            <p:nvPr/>
          </p:nvSpPr>
          <p:spPr>
            <a:xfrm flipV="1">
              <a:off x="9985523" y="4157755"/>
              <a:ext cx="1413008" cy="1655673"/>
            </a:xfrm>
            <a:custGeom>
              <a:avLst/>
              <a:gdLst>
                <a:gd name="connsiteX0" fmla="*/ 0 w 1617663"/>
                <a:gd name="connsiteY0" fmla="*/ 0 h 1895475"/>
                <a:gd name="connsiteX1" fmla="*/ 808832 w 1617663"/>
                <a:gd name="connsiteY1" fmla="*/ 0 h 1895475"/>
                <a:gd name="connsiteX2" fmla="*/ 1617664 w 1617663"/>
                <a:gd name="connsiteY2" fmla="*/ 947738 h 1895475"/>
                <a:gd name="connsiteX3" fmla="*/ 808832 w 1617663"/>
                <a:gd name="connsiteY3" fmla="*/ 1895476 h 1895475"/>
                <a:gd name="connsiteX4" fmla="*/ 0 w 1617663"/>
                <a:gd name="connsiteY4" fmla="*/ 1895475 h 1895475"/>
                <a:gd name="connsiteX5" fmla="*/ 0 w 1617663"/>
                <a:gd name="connsiteY5" fmla="*/ 0 h 1895475"/>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 name="connsiteX5" fmla="*/ 91440 w 1617664"/>
                <a:gd name="connsiteY5" fmla="*/ 91440 h 1895476"/>
                <a:gd name="connsiteX0" fmla="*/ 0 w 1617664"/>
                <a:gd name="connsiteY0" fmla="*/ 0 h 1895476"/>
                <a:gd name="connsiteX1" fmla="*/ 808832 w 1617664"/>
                <a:gd name="connsiteY1" fmla="*/ 0 h 1895476"/>
                <a:gd name="connsiteX2" fmla="*/ 1617664 w 1617664"/>
                <a:gd name="connsiteY2" fmla="*/ 947738 h 1895476"/>
                <a:gd name="connsiteX3" fmla="*/ 808832 w 1617664"/>
                <a:gd name="connsiteY3" fmla="*/ 1895476 h 1895476"/>
                <a:gd name="connsiteX4" fmla="*/ 0 w 1617664"/>
                <a:gd name="connsiteY4" fmla="*/ 1895475 h 1895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664" h="1895476">
                  <a:moveTo>
                    <a:pt x="0" y="0"/>
                  </a:moveTo>
                  <a:lnTo>
                    <a:pt x="808832" y="0"/>
                  </a:lnTo>
                  <a:cubicBezTo>
                    <a:pt x="1255538" y="0"/>
                    <a:pt x="1617664" y="424317"/>
                    <a:pt x="1617664" y="947738"/>
                  </a:cubicBezTo>
                  <a:cubicBezTo>
                    <a:pt x="1617664" y="1471159"/>
                    <a:pt x="1255538" y="1895476"/>
                    <a:pt x="808832" y="1895476"/>
                  </a:cubicBezTo>
                  <a:lnTo>
                    <a:pt x="0" y="1895475"/>
                  </a:lnTo>
                </a:path>
              </a:pathLst>
            </a:custGeom>
            <a:noFill/>
            <a:ln w="3175">
              <a:solidFill>
                <a:schemeClr val="bg1">
                  <a:lumMod val="65000"/>
                </a:schemeClr>
              </a:solidFill>
              <a:prstDash val="lgDash"/>
            </a:ln>
          </p:spPr>
          <p:style>
            <a:lnRef idx="0">
              <a:schemeClr val="accent1"/>
            </a:lnRef>
            <a:fillRef idx="1">
              <a:schemeClr val="accent1"/>
            </a:fillRef>
            <a:effectRef idx="0">
              <a:schemeClr val="dk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00000"/>
                </a:lnSpc>
              </a:pPr>
              <a:endParaRPr lang="en-GB" sz="1200"/>
            </a:p>
          </p:txBody>
        </p:sp>
        <p:cxnSp>
          <p:nvCxnSpPr>
            <p:cNvPr id="28" name="Straight Connector 27">
              <a:extLst>
                <a:ext uri="{FF2B5EF4-FFF2-40B4-BE49-F238E27FC236}">
                  <a16:creationId xmlns:a16="http://schemas.microsoft.com/office/drawing/2014/main" id="{64B59E0C-F51F-4E79-922E-6472C2CBF0BE}"/>
                </a:ext>
              </a:extLst>
            </p:cNvPr>
            <p:cNvCxnSpPr>
              <a:cxnSpLocks/>
              <a:stCxn id="26" idx="4"/>
              <a:endCxn id="27" idx="4"/>
            </p:cNvCxnSpPr>
            <p:nvPr/>
          </p:nvCxnSpPr>
          <p:spPr>
            <a:xfrm>
              <a:off x="8748425" y="4154979"/>
              <a:ext cx="1237098" cy="2777"/>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9" name="Straight Connector 28">
              <a:extLst>
                <a:ext uri="{FF2B5EF4-FFF2-40B4-BE49-F238E27FC236}">
                  <a16:creationId xmlns:a16="http://schemas.microsoft.com/office/drawing/2014/main" id="{E6524D57-E9CA-4128-9426-987689F5E531}"/>
                </a:ext>
              </a:extLst>
            </p:cNvPr>
            <p:cNvCxnSpPr>
              <a:cxnSpLocks/>
            </p:cNvCxnSpPr>
            <p:nvPr/>
          </p:nvCxnSpPr>
          <p:spPr>
            <a:xfrm>
              <a:off x="8748425" y="2499307"/>
              <a:ext cx="3287772"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30" name="Straight Connector 29">
              <a:extLst>
                <a:ext uri="{FF2B5EF4-FFF2-40B4-BE49-F238E27FC236}">
                  <a16:creationId xmlns:a16="http://schemas.microsoft.com/office/drawing/2014/main" id="{7A520B4D-3087-46D2-ACB2-39B413E23ABF}"/>
                </a:ext>
              </a:extLst>
            </p:cNvPr>
            <p:cNvCxnSpPr>
              <a:cxnSpLocks/>
            </p:cNvCxnSpPr>
            <p:nvPr/>
          </p:nvCxnSpPr>
          <p:spPr>
            <a:xfrm>
              <a:off x="6995885" y="5813428"/>
              <a:ext cx="3033674"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grpSp>
      <p:sp>
        <p:nvSpPr>
          <p:cNvPr id="21" name="Oval 20">
            <a:extLst>
              <a:ext uri="{FF2B5EF4-FFF2-40B4-BE49-F238E27FC236}">
                <a16:creationId xmlns:a16="http://schemas.microsoft.com/office/drawing/2014/main" id="{7FF52B85-BF20-43E8-8F3E-35EB37ABBF4F}"/>
              </a:ext>
            </a:extLst>
          </p:cNvPr>
          <p:cNvSpPr/>
          <p:nvPr/>
        </p:nvSpPr>
        <p:spPr bwMode="ltGray">
          <a:xfrm rot="10800000" flipH="1" flipV="1">
            <a:off x="11481251" y="5919342"/>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22" name="Oval 21">
            <a:extLst>
              <a:ext uri="{FF2B5EF4-FFF2-40B4-BE49-F238E27FC236}">
                <a16:creationId xmlns:a16="http://schemas.microsoft.com/office/drawing/2014/main" id="{07B94B7B-5F20-C16B-3E68-EF9AA713A753}"/>
              </a:ext>
            </a:extLst>
          </p:cNvPr>
          <p:cNvSpPr/>
          <p:nvPr/>
        </p:nvSpPr>
        <p:spPr bwMode="ltGray">
          <a:xfrm rot="10800000" flipH="1" flipV="1">
            <a:off x="6275388" y="3433943"/>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7" name="Oval 16">
            <a:extLst>
              <a:ext uri="{FF2B5EF4-FFF2-40B4-BE49-F238E27FC236}">
                <a16:creationId xmlns:a16="http://schemas.microsoft.com/office/drawing/2014/main" id="{A263C8E3-74C7-432A-B28F-0DA45AFDA174}"/>
              </a:ext>
            </a:extLst>
          </p:cNvPr>
          <p:cNvSpPr/>
          <p:nvPr/>
        </p:nvSpPr>
        <p:spPr bwMode="ltGray">
          <a:xfrm rot="10800000" flipV="1">
            <a:off x="6978254" y="3423576"/>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1</a:t>
            </a:r>
          </a:p>
        </p:txBody>
      </p:sp>
      <p:sp>
        <p:nvSpPr>
          <p:cNvPr id="18" name="Oval 17">
            <a:extLst>
              <a:ext uri="{FF2B5EF4-FFF2-40B4-BE49-F238E27FC236}">
                <a16:creationId xmlns:a16="http://schemas.microsoft.com/office/drawing/2014/main" id="{6BA88B0E-D97B-426A-8D66-BC77BB60F649}"/>
              </a:ext>
            </a:extLst>
          </p:cNvPr>
          <p:cNvSpPr/>
          <p:nvPr/>
        </p:nvSpPr>
        <p:spPr bwMode="ltGray">
          <a:xfrm rot="10800000" flipV="1">
            <a:off x="9782770" y="3411365"/>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2</a:t>
            </a:r>
          </a:p>
        </p:txBody>
      </p:sp>
      <p:sp>
        <p:nvSpPr>
          <p:cNvPr id="19" name="Oval 18">
            <a:extLst>
              <a:ext uri="{FF2B5EF4-FFF2-40B4-BE49-F238E27FC236}">
                <a16:creationId xmlns:a16="http://schemas.microsoft.com/office/drawing/2014/main" id="{D7899245-68EA-4026-9526-373A8145DB57}"/>
              </a:ext>
            </a:extLst>
          </p:cNvPr>
          <p:cNvSpPr/>
          <p:nvPr/>
        </p:nvSpPr>
        <p:spPr bwMode="ltGray">
          <a:xfrm rot="10800000" flipV="1">
            <a:off x="10075359" y="4661742"/>
            <a:ext cx="246801" cy="246801"/>
          </a:xfrm>
          <a:prstGeom prst="ellipse">
            <a:avLst/>
          </a:prstGeom>
          <a:solidFill>
            <a:schemeClr val="bg1"/>
          </a:solidFill>
          <a:ln w="28575">
            <a:solidFill>
              <a:srgbClr val="D18D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3</a:t>
            </a:r>
          </a:p>
        </p:txBody>
      </p:sp>
      <p:sp>
        <p:nvSpPr>
          <p:cNvPr id="8" name="TextBox 7">
            <a:extLst>
              <a:ext uri="{FF2B5EF4-FFF2-40B4-BE49-F238E27FC236}">
                <a16:creationId xmlns:a16="http://schemas.microsoft.com/office/drawing/2014/main" id="{3E274818-D88B-C2C1-E94F-BD87DBC88BFF}"/>
              </a:ext>
            </a:extLst>
          </p:cNvPr>
          <p:cNvSpPr txBox="1"/>
          <p:nvPr/>
        </p:nvSpPr>
        <p:spPr>
          <a:xfrm>
            <a:off x="3265456" y="3197855"/>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err="1">
                <a:solidFill>
                  <a:srgbClr val="000000"/>
                </a:solidFill>
              </a:rPr>
              <a:t>Starptautiskā</a:t>
            </a:r>
            <a:r>
              <a:rPr lang="lv-LV" sz="1200" b="1" i="0" u="none" strike="noStrike" baseline="0">
                <a:solidFill>
                  <a:srgbClr val="000000"/>
                </a:solidFill>
              </a:rPr>
              <a:t>s</a:t>
            </a:r>
            <a:r>
              <a:rPr lang="en-US" sz="1200" b="1" i="0" u="none" strike="noStrike" baseline="0">
                <a:solidFill>
                  <a:srgbClr val="000000"/>
                </a:solidFill>
              </a:rPr>
              <a:t> </a:t>
            </a:r>
            <a:r>
              <a:rPr lang="en-US" sz="1200" b="1" i="0" u="none" strike="noStrike" baseline="0" err="1">
                <a:solidFill>
                  <a:srgbClr val="000000"/>
                </a:solidFill>
              </a:rPr>
              <a:t>organizācijas</a:t>
            </a:r>
            <a:endParaRPr lang="en-US" sz="1200"/>
          </a:p>
        </p:txBody>
      </p:sp>
      <p:sp>
        <p:nvSpPr>
          <p:cNvPr id="20" name="TextBox 19">
            <a:extLst>
              <a:ext uri="{FF2B5EF4-FFF2-40B4-BE49-F238E27FC236}">
                <a16:creationId xmlns:a16="http://schemas.microsoft.com/office/drawing/2014/main" id="{A1164F5B-DD89-276E-C0BE-FCAA89AD831D}"/>
              </a:ext>
            </a:extLst>
          </p:cNvPr>
          <p:cNvSpPr txBox="1"/>
          <p:nvPr/>
        </p:nvSpPr>
        <p:spPr>
          <a:xfrm>
            <a:off x="439738" y="4650837"/>
            <a:ext cx="1397000" cy="514350"/>
          </a:xfrm>
          <a:prstGeom prst="rect">
            <a:avLst/>
          </a:prstGeom>
          <a:solidFill>
            <a:srgbClr val="525A72"/>
          </a:solidFill>
        </p:spPr>
        <p:txBody>
          <a:bodyPr wrap="square" anchor="ctr">
            <a:noAutofit/>
          </a:bodyPr>
          <a:lstStyle/>
          <a:p>
            <a:pPr algn="ctr"/>
            <a:r>
              <a:rPr lang="en-US" sz="1200" b="1" i="0" u="none" strike="noStrike" baseline="0">
                <a:solidFill>
                  <a:schemeClr val="bg1"/>
                </a:solidFill>
              </a:rPr>
              <a:t>KVP MK</a:t>
            </a:r>
            <a:endParaRPr lang="en-US" sz="1200">
              <a:solidFill>
                <a:schemeClr val="bg1"/>
              </a:solidFill>
            </a:endParaRPr>
          </a:p>
        </p:txBody>
      </p:sp>
      <p:sp>
        <p:nvSpPr>
          <p:cNvPr id="31" name="TextBox 30">
            <a:extLst>
              <a:ext uri="{FF2B5EF4-FFF2-40B4-BE49-F238E27FC236}">
                <a16:creationId xmlns:a16="http://schemas.microsoft.com/office/drawing/2014/main" id="{5050F5AE-2FE4-49E7-AF52-A72A565CCA86}"/>
              </a:ext>
            </a:extLst>
          </p:cNvPr>
          <p:cNvSpPr txBox="1"/>
          <p:nvPr/>
        </p:nvSpPr>
        <p:spPr>
          <a:xfrm>
            <a:off x="450850" y="3932947"/>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a:solidFill>
                  <a:srgbClr val="000000"/>
                </a:solidFill>
              </a:rPr>
              <a:t>ERCC</a:t>
            </a:r>
            <a:endParaRPr lang="en-US" sz="1200"/>
          </a:p>
        </p:txBody>
      </p:sp>
      <p:sp>
        <p:nvSpPr>
          <p:cNvPr id="32" name="TextBox 31">
            <a:extLst>
              <a:ext uri="{FF2B5EF4-FFF2-40B4-BE49-F238E27FC236}">
                <a16:creationId xmlns:a16="http://schemas.microsoft.com/office/drawing/2014/main" id="{BA4BCFDE-0F57-2E52-C536-DED8F56CB820}"/>
              </a:ext>
            </a:extLst>
          </p:cNvPr>
          <p:cNvSpPr txBox="1"/>
          <p:nvPr/>
        </p:nvSpPr>
        <p:spPr>
          <a:xfrm>
            <a:off x="1390459" y="3197855"/>
            <a:ext cx="1397000" cy="514350"/>
          </a:xfrm>
          <a:prstGeom prst="rect">
            <a:avLst/>
          </a:prstGeom>
          <a:solidFill>
            <a:schemeClr val="bg1">
              <a:lumMod val="95000"/>
            </a:schemeClr>
          </a:solidFill>
        </p:spPr>
        <p:txBody>
          <a:bodyPr wrap="square" anchor="ctr">
            <a:noAutofit/>
          </a:bodyPr>
          <a:lstStyle/>
          <a:p>
            <a:pPr algn="ctr"/>
            <a:r>
              <a:rPr lang="en-US" sz="1200" b="1" i="0" u="none" strike="noStrike" baseline="0">
                <a:solidFill>
                  <a:srgbClr val="000000"/>
                </a:solidFill>
              </a:rPr>
              <a:t>NATO EADRCC</a:t>
            </a:r>
            <a:endParaRPr lang="en-US" sz="1200"/>
          </a:p>
        </p:txBody>
      </p:sp>
      <p:sp>
        <p:nvSpPr>
          <p:cNvPr id="36" name="TextBox 35">
            <a:extLst>
              <a:ext uri="{FF2B5EF4-FFF2-40B4-BE49-F238E27FC236}">
                <a16:creationId xmlns:a16="http://schemas.microsoft.com/office/drawing/2014/main" id="{3FA871A4-E136-FCC1-D614-8D7128633D9B}"/>
              </a:ext>
            </a:extLst>
          </p:cNvPr>
          <p:cNvSpPr txBox="1"/>
          <p:nvPr/>
        </p:nvSpPr>
        <p:spPr>
          <a:xfrm>
            <a:off x="2376289" y="4574235"/>
            <a:ext cx="1247472" cy="646331"/>
          </a:xfrm>
          <a:prstGeom prst="rect">
            <a:avLst/>
          </a:prstGeom>
          <a:noFill/>
          <a:ln w="12700">
            <a:noFill/>
          </a:ln>
        </p:spPr>
        <p:txBody>
          <a:bodyPr wrap="square">
            <a:spAutoFit/>
          </a:bodyPr>
          <a:lstStyle/>
          <a:p>
            <a:pPr algn="ctr"/>
            <a:r>
              <a:rPr lang="en-GB" sz="1200" b="1" err="1"/>
              <a:t>Valsts</a:t>
            </a:r>
            <a:r>
              <a:rPr lang="en-GB" sz="1200" b="1"/>
              <a:t> </a:t>
            </a:r>
            <a:r>
              <a:rPr lang="en-GB" sz="1200" b="1" err="1"/>
              <a:t>civilās</a:t>
            </a:r>
            <a:r>
              <a:rPr lang="en-GB" sz="1200" b="1"/>
              <a:t> </a:t>
            </a:r>
            <a:r>
              <a:rPr lang="en-GB" sz="1200" b="1" err="1"/>
              <a:t>aizsardzības</a:t>
            </a:r>
            <a:r>
              <a:rPr lang="en-GB" sz="1200" b="1"/>
              <a:t> </a:t>
            </a:r>
            <a:r>
              <a:rPr lang="en-GB" sz="1200" b="1" err="1"/>
              <a:t>kontaktpunkts</a:t>
            </a:r>
            <a:endParaRPr lang="en-US" sz="1200" b="1"/>
          </a:p>
        </p:txBody>
      </p:sp>
      <p:sp>
        <p:nvSpPr>
          <p:cNvPr id="37" name="TextBox 36">
            <a:extLst>
              <a:ext uri="{FF2B5EF4-FFF2-40B4-BE49-F238E27FC236}">
                <a16:creationId xmlns:a16="http://schemas.microsoft.com/office/drawing/2014/main" id="{E582FF53-4DAD-EAA5-D0D0-C91626EE3CFC}"/>
              </a:ext>
            </a:extLst>
          </p:cNvPr>
          <p:cNvSpPr txBox="1"/>
          <p:nvPr/>
        </p:nvSpPr>
        <p:spPr>
          <a:xfrm>
            <a:off x="4517266" y="3932947"/>
            <a:ext cx="1397000" cy="514350"/>
          </a:xfrm>
          <a:prstGeom prst="rect">
            <a:avLst/>
          </a:prstGeom>
          <a:solidFill>
            <a:schemeClr val="bg1">
              <a:lumMod val="95000"/>
            </a:schemeClr>
          </a:solidFill>
        </p:spPr>
        <p:txBody>
          <a:bodyPr wrap="square" anchor="ctr">
            <a:noAutofit/>
          </a:bodyPr>
          <a:lstStyle/>
          <a:p>
            <a:pPr algn="ctr"/>
            <a:r>
              <a:rPr lang="en-GB" sz="1200" b="1" err="1"/>
              <a:t>Ārvalstis</a:t>
            </a:r>
            <a:endParaRPr lang="en-US" sz="1200" b="1"/>
          </a:p>
        </p:txBody>
      </p:sp>
      <p:pic>
        <p:nvPicPr>
          <p:cNvPr id="44" name="Attēls 6">
            <a:extLst>
              <a:ext uri="{FF2B5EF4-FFF2-40B4-BE49-F238E27FC236}">
                <a16:creationId xmlns:a16="http://schemas.microsoft.com/office/drawing/2014/main" id="{E478846F-881E-95A5-22B7-86EBD5AE645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3129731" y="5520115"/>
            <a:ext cx="719458"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45" name="Attēls 6">
            <a:extLst>
              <a:ext uri="{FF2B5EF4-FFF2-40B4-BE49-F238E27FC236}">
                <a16:creationId xmlns:a16="http://schemas.microsoft.com/office/drawing/2014/main" id="{FFF339D9-1E89-73E0-9AC7-A34034F10BF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602631" y="5520115"/>
            <a:ext cx="62484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46" name="Attēls 6">
            <a:extLst>
              <a:ext uri="{FF2B5EF4-FFF2-40B4-BE49-F238E27FC236}">
                <a16:creationId xmlns:a16="http://schemas.microsoft.com/office/drawing/2014/main" id="{2234B273-9FDD-CBE0-45A4-3A8FC14812C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291773" y="5520115"/>
            <a:ext cx="62484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47" name="Attēls 6">
            <a:extLst>
              <a:ext uri="{FF2B5EF4-FFF2-40B4-BE49-F238E27FC236}">
                <a16:creationId xmlns:a16="http://schemas.microsoft.com/office/drawing/2014/main" id="{00F838A7-D5B3-C517-6A72-6875C2EB58B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2440590" y="5520115"/>
            <a:ext cx="62484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48" name="Attēls 6">
            <a:extLst>
              <a:ext uri="{FF2B5EF4-FFF2-40B4-BE49-F238E27FC236}">
                <a16:creationId xmlns:a16="http://schemas.microsoft.com/office/drawing/2014/main" id="{629BF4C4-CEF5-2696-D854-B743C612D38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1751449" y="5520115"/>
            <a:ext cx="62484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49" name="Attēls 6">
            <a:extLst>
              <a:ext uri="{FF2B5EF4-FFF2-40B4-BE49-F238E27FC236}">
                <a16:creationId xmlns:a16="http://schemas.microsoft.com/office/drawing/2014/main" id="{68EA0BCD-8B7F-D04D-3746-6B1799A8158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022403" y="5520115"/>
            <a:ext cx="664745"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50" name="Attēls 6">
            <a:extLst>
              <a:ext uri="{FF2B5EF4-FFF2-40B4-BE49-F238E27FC236}">
                <a16:creationId xmlns:a16="http://schemas.microsoft.com/office/drawing/2014/main" id="{433CBD26-D9D9-D705-08A9-A862139AA87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624"/>
          <a:stretch/>
        </p:blipFill>
        <p:spPr bwMode="auto">
          <a:xfrm>
            <a:off x="442912" y="5520115"/>
            <a:ext cx="515190" cy="652085"/>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2CCECFE2-C5C5-62DF-3053-0839C2A3FC45}"/>
              </a:ext>
            </a:extLst>
          </p:cNvPr>
          <p:cNvPicPr>
            <a:picLocks noChangeAspect="1"/>
          </p:cNvPicPr>
          <p:nvPr/>
        </p:nvPicPr>
        <p:blipFill rotWithShape="1">
          <a:blip r:embed="rId11"/>
          <a:srcRect l="14081" r="7147"/>
          <a:stretch/>
        </p:blipFill>
        <p:spPr>
          <a:xfrm>
            <a:off x="3625516" y="4574235"/>
            <a:ext cx="626145" cy="646332"/>
          </a:xfrm>
          <a:prstGeom prst="rect">
            <a:avLst/>
          </a:prstGeom>
          <a:solidFill>
            <a:srgbClr val="A8192D"/>
          </a:solidFill>
          <a:ln w="12700">
            <a:noFill/>
          </a:ln>
        </p:spPr>
      </p:pic>
      <p:sp>
        <p:nvSpPr>
          <p:cNvPr id="86016" name="Satura vietturis 2">
            <a:extLst>
              <a:ext uri="{FF2B5EF4-FFF2-40B4-BE49-F238E27FC236}">
                <a16:creationId xmlns:a16="http://schemas.microsoft.com/office/drawing/2014/main" id="{64746E40-166A-4ED2-E818-36AE4A0036C0}"/>
              </a:ext>
            </a:extLst>
          </p:cNvPr>
          <p:cNvSpPr txBox="1">
            <a:spLocks/>
          </p:cNvSpPr>
          <p:nvPr/>
        </p:nvSpPr>
        <p:spPr>
          <a:xfrm flipV="1">
            <a:off x="442912" y="5516215"/>
            <a:ext cx="5473701" cy="652084"/>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en-US" altLang="lv-LV" sz="1600">
              <a:solidFill>
                <a:schemeClr val="tx1"/>
              </a:solidFill>
            </a:endParaRPr>
          </a:p>
        </p:txBody>
      </p:sp>
      <p:sp>
        <p:nvSpPr>
          <p:cNvPr id="86021" name="Satura vietturis 2">
            <a:extLst>
              <a:ext uri="{FF2B5EF4-FFF2-40B4-BE49-F238E27FC236}">
                <a16:creationId xmlns:a16="http://schemas.microsoft.com/office/drawing/2014/main" id="{64EF5B5A-5CA1-1867-A321-5556EB4C512C}"/>
              </a:ext>
            </a:extLst>
          </p:cNvPr>
          <p:cNvSpPr txBox="1">
            <a:spLocks/>
          </p:cNvSpPr>
          <p:nvPr/>
        </p:nvSpPr>
        <p:spPr>
          <a:xfrm flipV="1">
            <a:off x="2376290" y="4574235"/>
            <a:ext cx="1951236" cy="652084"/>
          </a:xfrm>
          <a:prstGeom prst="rect">
            <a:avLst/>
          </a:prstGeom>
          <a:noFill/>
          <a:ln w="12700">
            <a:solidFill>
              <a:srgbClr val="A8192D"/>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en-US" altLang="lv-LV" sz="1600">
              <a:solidFill>
                <a:schemeClr val="tx1"/>
              </a:solidFill>
            </a:endParaRPr>
          </a:p>
        </p:txBody>
      </p:sp>
      <p:sp>
        <p:nvSpPr>
          <p:cNvPr id="86024" name="Rectangle 86023">
            <a:extLst>
              <a:ext uri="{FF2B5EF4-FFF2-40B4-BE49-F238E27FC236}">
                <a16:creationId xmlns:a16="http://schemas.microsoft.com/office/drawing/2014/main" id="{4D9BECE7-1814-0FB0-CD97-103FDCD2FB84}"/>
              </a:ext>
            </a:extLst>
          </p:cNvPr>
          <p:cNvSpPr/>
          <p:nvPr/>
        </p:nvSpPr>
        <p:spPr>
          <a:xfrm>
            <a:off x="450850"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5" name="Rectangle 86024">
            <a:extLst>
              <a:ext uri="{FF2B5EF4-FFF2-40B4-BE49-F238E27FC236}">
                <a16:creationId xmlns:a16="http://schemas.microsoft.com/office/drawing/2014/main" id="{2CD791FA-45BB-ADC1-DD03-837FD3F7BE33}"/>
              </a:ext>
            </a:extLst>
          </p:cNvPr>
          <p:cNvSpPr/>
          <p:nvPr/>
        </p:nvSpPr>
        <p:spPr>
          <a:xfrm>
            <a:off x="1390459"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6" name="Rectangle 86025">
            <a:extLst>
              <a:ext uri="{FF2B5EF4-FFF2-40B4-BE49-F238E27FC236}">
                <a16:creationId xmlns:a16="http://schemas.microsoft.com/office/drawing/2014/main" id="{DEA30ABE-08C9-D88D-7BAA-3FD20B5A62FF}"/>
              </a:ext>
            </a:extLst>
          </p:cNvPr>
          <p:cNvSpPr/>
          <p:nvPr/>
        </p:nvSpPr>
        <p:spPr>
          <a:xfrm>
            <a:off x="3265456" y="3197855"/>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6027" name="Rectangle 86026">
            <a:extLst>
              <a:ext uri="{FF2B5EF4-FFF2-40B4-BE49-F238E27FC236}">
                <a16:creationId xmlns:a16="http://schemas.microsoft.com/office/drawing/2014/main" id="{4BD2AC15-65B4-58B9-BDE2-0B1EA0B24CCB}"/>
              </a:ext>
            </a:extLst>
          </p:cNvPr>
          <p:cNvSpPr/>
          <p:nvPr/>
        </p:nvSpPr>
        <p:spPr>
          <a:xfrm>
            <a:off x="4517266" y="3932947"/>
            <a:ext cx="72000" cy="51435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cxnSp>
        <p:nvCxnSpPr>
          <p:cNvPr id="86042" name="Straight Arrow Connector 86041">
            <a:extLst>
              <a:ext uri="{FF2B5EF4-FFF2-40B4-BE49-F238E27FC236}">
                <a16:creationId xmlns:a16="http://schemas.microsoft.com/office/drawing/2014/main" id="{5EBF3A79-ED83-C9F5-41CF-D808623191EF}"/>
              </a:ext>
            </a:extLst>
          </p:cNvPr>
          <p:cNvCxnSpPr>
            <a:stCxn id="86021" idx="1"/>
            <a:endCxn id="20" idx="3"/>
          </p:cNvCxnSpPr>
          <p:nvPr/>
        </p:nvCxnSpPr>
        <p:spPr>
          <a:xfrm flipH="1">
            <a:off x="1836738" y="4900277"/>
            <a:ext cx="539552" cy="7735"/>
          </a:xfrm>
          <a:prstGeom prst="straightConnector1">
            <a:avLst/>
          </a:prstGeom>
          <a:ln w="3175"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86044" name="Connector: Elbow 86043">
            <a:extLst>
              <a:ext uri="{FF2B5EF4-FFF2-40B4-BE49-F238E27FC236}">
                <a16:creationId xmlns:a16="http://schemas.microsoft.com/office/drawing/2014/main" id="{58BB6EE7-7C84-1957-38DC-44E5692B5AAA}"/>
              </a:ext>
            </a:extLst>
          </p:cNvPr>
          <p:cNvCxnSpPr>
            <a:stCxn id="86021" idx="2"/>
            <a:endCxn id="31" idx="3"/>
          </p:cNvCxnSpPr>
          <p:nvPr/>
        </p:nvCxnSpPr>
        <p:spPr>
          <a:xfrm rot="16200000" flipV="1">
            <a:off x="2407823" y="3630150"/>
            <a:ext cx="384113" cy="1504058"/>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6" name="Connector: Elbow 86045">
            <a:extLst>
              <a:ext uri="{FF2B5EF4-FFF2-40B4-BE49-F238E27FC236}">
                <a16:creationId xmlns:a16="http://schemas.microsoft.com/office/drawing/2014/main" id="{768CEE81-56D4-BD64-649F-644363780245}"/>
              </a:ext>
            </a:extLst>
          </p:cNvPr>
          <p:cNvCxnSpPr>
            <a:stCxn id="86021" idx="2"/>
            <a:endCxn id="32" idx="2"/>
          </p:cNvCxnSpPr>
          <p:nvPr/>
        </p:nvCxnSpPr>
        <p:spPr>
          <a:xfrm rot="16200000" flipV="1">
            <a:off x="2289419" y="3511745"/>
            <a:ext cx="862030" cy="1262949"/>
          </a:xfrm>
          <a:prstGeom prst="bentConnector3">
            <a:avLst>
              <a:gd name="adj1" fmla="val 44475"/>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49" name="Connector: Elbow 86048">
            <a:extLst>
              <a:ext uri="{FF2B5EF4-FFF2-40B4-BE49-F238E27FC236}">
                <a16:creationId xmlns:a16="http://schemas.microsoft.com/office/drawing/2014/main" id="{47F7028E-C4BE-46C6-FCD1-A93C0D3C291D}"/>
              </a:ext>
            </a:extLst>
          </p:cNvPr>
          <p:cNvCxnSpPr>
            <a:stCxn id="86021" idx="2"/>
            <a:endCxn id="8" idx="2"/>
          </p:cNvCxnSpPr>
          <p:nvPr/>
        </p:nvCxnSpPr>
        <p:spPr>
          <a:xfrm rot="5400000" flipH="1" flipV="1">
            <a:off x="3226917" y="3837196"/>
            <a:ext cx="862030" cy="612048"/>
          </a:xfrm>
          <a:prstGeom prst="bentConnector3">
            <a:avLst>
              <a:gd name="adj1" fmla="val 44475"/>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1" name="Connector: Elbow 86050">
            <a:extLst>
              <a:ext uri="{FF2B5EF4-FFF2-40B4-BE49-F238E27FC236}">
                <a16:creationId xmlns:a16="http://schemas.microsoft.com/office/drawing/2014/main" id="{F6479F07-5B9E-97CD-1B91-064D757D69E7}"/>
              </a:ext>
            </a:extLst>
          </p:cNvPr>
          <p:cNvCxnSpPr>
            <a:stCxn id="86021" idx="2"/>
            <a:endCxn id="86027" idx="1"/>
          </p:cNvCxnSpPr>
          <p:nvPr/>
        </p:nvCxnSpPr>
        <p:spPr>
          <a:xfrm rot="5400000" flipH="1" flipV="1">
            <a:off x="3742531" y="3799500"/>
            <a:ext cx="384113" cy="1165358"/>
          </a:xfrm>
          <a:prstGeom prst="bentConnector2">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cxnSp>
        <p:nvCxnSpPr>
          <p:cNvPr id="86053" name="Straight Arrow Connector 86052">
            <a:extLst>
              <a:ext uri="{FF2B5EF4-FFF2-40B4-BE49-F238E27FC236}">
                <a16:creationId xmlns:a16="http://schemas.microsoft.com/office/drawing/2014/main" id="{8EB91267-E357-C3F8-0A77-C3DC84C9EF75}"/>
              </a:ext>
            </a:extLst>
          </p:cNvPr>
          <p:cNvCxnSpPr>
            <a:stCxn id="86021" idx="0"/>
          </p:cNvCxnSpPr>
          <p:nvPr/>
        </p:nvCxnSpPr>
        <p:spPr>
          <a:xfrm>
            <a:off x="3351908" y="5226319"/>
            <a:ext cx="10448" cy="284143"/>
          </a:xfrm>
          <a:prstGeom prst="straightConnector1">
            <a:avLst/>
          </a:prstGeom>
          <a:ln w="3175" cap="sq">
            <a:solidFill>
              <a:schemeClr val="bg1">
                <a:lumMod val="75000"/>
              </a:schemeClr>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86056" name="TextBox 86055">
            <a:extLst>
              <a:ext uri="{FF2B5EF4-FFF2-40B4-BE49-F238E27FC236}">
                <a16:creationId xmlns:a16="http://schemas.microsoft.com/office/drawing/2014/main" id="{B6D4C237-98D7-B814-7A77-400106403415}"/>
              </a:ext>
            </a:extLst>
          </p:cNvPr>
          <p:cNvSpPr txBox="1"/>
          <p:nvPr/>
        </p:nvSpPr>
        <p:spPr>
          <a:xfrm>
            <a:off x="1426459" y="2596827"/>
            <a:ext cx="4158933" cy="246221"/>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A8192D"/>
                </a:solidFill>
                <a:effectLst/>
                <a:uLnTx/>
                <a:uFillTx/>
                <a:ea typeface="+mn-ea"/>
                <a:cs typeface="+mn-cs"/>
              </a:rPr>
              <a:t>Palīdzības pieprasīšanas mehānisms</a:t>
            </a:r>
          </a:p>
        </p:txBody>
      </p:sp>
      <p:sp>
        <p:nvSpPr>
          <p:cNvPr id="33" name="TextBox 32">
            <a:extLst>
              <a:ext uri="{FF2B5EF4-FFF2-40B4-BE49-F238E27FC236}">
                <a16:creationId xmlns:a16="http://schemas.microsoft.com/office/drawing/2014/main" id="{FB4E86D4-2430-2B15-8F7C-FC9177255514}"/>
              </a:ext>
            </a:extLst>
          </p:cNvPr>
          <p:cNvSpPr txBox="1"/>
          <p:nvPr/>
        </p:nvSpPr>
        <p:spPr>
          <a:xfrm>
            <a:off x="7519789" y="2599872"/>
            <a:ext cx="4158933" cy="246221"/>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A8192D"/>
                </a:solidFill>
                <a:effectLst/>
                <a:uLnTx/>
                <a:uFillTx/>
                <a:ea typeface="+mn-ea"/>
                <a:cs typeface="+mn-cs"/>
              </a:rPr>
              <a:t>Palīdzības sniegšanas mehānisms</a:t>
            </a:r>
          </a:p>
        </p:txBody>
      </p:sp>
      <p:grpSp>
        <p:nvGrpSpPr>
          <p:cNvPr id="51" name="Group 50">
            <a:extLst>
              <a:ext uri="{FF2B5EF4-FFF2-40B4-BE49-F238E27FC236}">
                <a16:creationId xmlns:a16="http://schemas.microsoft.com/office/drawing/2014/main" id="{5CD07CC0-6CFB-6DE3-572F-9DEEC3ADB2B1}"/>
              </a:ext>
            </a:extLst>
          </p:cNvPr>
          <p:cNvGrpSpPr/>
          <p:nvPr/>
        </p:nvGrpSpPr>
        <p:grpSpPr>
          <a:xfrm>
            <a:off x="9042363" y="126781"/>
            <a:ext cx="2706725" cy="217488"/>
            <a:chOff x="8561592" y="126781"/>
            <a:chExt cx="2706725" cy="217488"/>
          </a:xfrm>
        </p:grpSpPr>
        <p:sp>
          <p:nvSpPr>
            <p:cNvPr id="52" name="Rectangle 51">
              <a:extLst>
                <a:ext uri="{FF2B5EF4-FFF2-40B4-BE49-F238E27FC236}">
                  <a16:creationId xmlns:a16="http://schemas.microsoft.com/office/drawing/2014/main" id="{63687057-456F-FF4E-2006-6437A1550838}"/>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54" name="Rectangle 53">
              <a:extLst>
                <a:ext uri="{FF2B5EF4-FFF2-40B4-BE49-F238E27FC236}">
                  <a16:creationId xmlns:a16="http://schemas.microsoft.com/office/drawing/2014/main" id="{454969BB-F293-64BD-858B-9CBAEC2A7CDC}"/>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55" name="Rectangle 54">
              <a:extLst>
                <a:ext uri="{FF2B5EF4-FFF2-40B4-BE49-F238E27FC236}">
                  <a16:creationId xmlns:a16="http://schemas.microsoft.com/office/drawing/2014/main" id="{AB7DED4F-37D5-0D38-30FD-E07CE5892BB1}"/>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56" name="Rectangle 55">
              <a:extLst>
                <a:ext uri="{FF2B5EF4-FFF2-40B4-BE49-F238E27FC236}">
                  <a16:creationId xmlns:a16="http://schemas.microsoft.com/office/drawing/2014/main" id="{1F8ED4DC-9B50-6FB3-D73A-C503459F95C6}"/>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38" name="Oval 37">
            <a:extLst>
              <a:ext uri="{FF2B5EF4-FFF2-40B4-BE49-F238E27FC236}">
                <a16:creationId xmlns:a16="http://schemas.microsoft.com/office/drawing/2014/main" id="{80842599-7C15-ACBC-B2B6-2362EEC87F03}"/>
              </a:ext>
            </a:extLst>
          </p:cNvPr>
          <p:cNvSpPr/>
          <p:nvPr/>
        </p:nvSpPr>
        <p:spPr bwMode="ltGray">
          <a:xfrm rot="10800000" flipV="1">
            <a:off x="7959762" y="4658529"/>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4</a:t>
            </a:r>
          </a:p>
        </p:txBody>
      </p:sp>
      <p:sp>
        <p:nvSpPr>
          <p:cNvPr id="39" name="Oval 38">
            <a:extLst>
              <a:ext uri="{FF2B5EF4-FFF2-40B4-BE49-F238E27FC236}">
                <a16:creationId xmlns:a16="http://schemas.microsoft.com/office/drawing/2014/main" id="{F5188492-0C1A-F9EB-617C-8B855A9DCA7A}"/>
              </a:ext>
            </a:extLst>
          </p:cNvPr>
          <p:cNvSpPr/>
          <p:nvPr/>
        </p:nvSpPr>
        <p:spPr bwMode="ltGray">
          <a:xfrm rot="10800000" flipV="1">
            <a:off x="8364038" y="5903497"/>
            <a:ext cx="246801" cy="246801"/>
          </a:xfrm>
          <a:prstGeom prst="ellipse">
            <a:avLst/>
          </a:prstGeom>
          <a:solidFill>
            <a:schemeClr val="bg1"/>
          </a:solidFill>
          <a:ln w="28575">
            <a:solidFill>
              <a:srgbClr val="A819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5</a:t>
            </a:r>
          </a:p>
        </p:txBody>
      </p:sp>
      <p:sp>
        <p:nvSpPr>
          <p:cNvPr id="40" name="Oval 39">
            <a:extLst>
              <a:ext uri="{FF2B5EF4-FFF2-40B4-BE49-F238E27FC236}">
                <a16:creationId xmlns:a16="http://schemas.microsoft.com/office/drawing/2014/main" id="{3F097AE2-BFBF-DFFE-3EBD-FD7EAB3829E8}"/>
              </a:ext>
            </a:extLst>
          </p:cNvPr>
          <p:cNvSpPr/>
          <p:nvPr/>
        </p:nvSpPr>
        <p:spPr bwMode="ltGray">
          <a:xfrm rot="10800000" flipV="1">
            <a:off x="10413242" y="5904564"/>
            <a:ext cx="246801" cy="246801"/>
          </a:xfrm>
          <a:prstGeom prst="ellipse">
            <a:avLst/>
          </a:prstGeom>
          <a:solidFill>
            <a:schemeClr val="bg1"/>
          </a:solidFill>
          <a:ln w="28575">
            <a:solidFill>
              <a:srgbClr val="525A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a:solidFill>
                  <a:schemeClr val="tx1"/>
                </a:solidFill>
              </a:rPr>
              <a:t>6</a:t>
            </a:r>
          </a:p>
        </p:txBody>
      </p:sp>
      <p:sp>
        <p:nvSpPr>
          <p:cNvPr id="41" name="TextBox 40">
            <a:extLst>
              <a:ext uri="{FF2B5EF4-FFF2-40B4-BE49-F238E27FC236}">
                <a16:creationId xmlns:a16="http://schemas.microsoft.com/office/drawing/2014/main" id="{79783E61-29D7-0141-D018-F20783738BC9}"/>
              </a:ext>
            </a:extLst>
          </p:cNvPr>
          <p:cNvSpPr txBox="1"/>
          <p:nvPr/>
        </p:nvSpPr>
        <p:spPr>
          <a:xfrm>
            <a:off x="5945092" y="2981957"/>
            <a:ext cx="3081231" cy="338554"/>
          </a:xfrm>
          <a:prstGeom prst="rect">
            <a:avLst/>
          </a:prstGeom>
          <a:noFill/>
        </p:spPr>
        <p:txBody>
          <a:bodyPr wrap="square" lIns="0" tIns="0" rIns="0" bIns="0">
            <a:spAutoFit/>
          </a:bodyPr>
          <a:lstStyle/>
          <a:p>
            <a:r>
              <a:rPr lang="lv-LV" sz="1100">
                <a:effectLst/>
              </a:rPr>
              <a:t>Valsts civilās aizsardzības kontaktpunkts saņem starptautisko humānās palīdzības pieprasījumu</a:t>
            </a:r>
          </a:p>
        </p:txBody>
      </p:sp>
      <p:sp>
        <p:nvSpPr>
          <p:cNvPr id="42" name="TextBox 41">
            <a:extLst>
              <a:ext uri="{FF2B5EF4-FFF2-40B4-BE49-F238E27FC236}">
                <a16:creationId xmlns:a16="http://schemas.microsoft.com/office/drawing/2014/main" id="{C54A57E3-2E82-F480-9418-16E6BDEC26ED}"/>
              </a:ext>
            </a:extLst>
          </p:cNvPr>
          <p:cNvSpPr txBox="1"/>
          <p:nvPr/>
        </p:nvSpPr>
        <p:spPr>
          <a:xfrm>
            <a:off x="9137636" y="2984567"/>
            <a:ext cx="2611452" cy="338554"/>
          </a:xfrm>
          <a:prstGeom prst="rect">
            <a:avLst/>
          </a:prstGeom>
          <a:noFill/>
        </p:spPr>
        <p:txBody>
          <a:bodyPr wrap="square" lIns="0" tIns="0" rIns="0" bIns="0">
            <a:spAutoFit/>
          </a:bodyPr>
          <a:lstStyle/>
          <a:p>
            <a:r>
              <a:rPr lang="lv-LV" sz="1100">
                <a:effectLst/>
              </a:rPr>
              <a:t>Valsts civilās aizsardzības kontaktpunkts nekavējoties informē atbildīgo ministriju</a:t>
            </a:r>
          </a:p>
        </p:txBody>
      </p:sp>
      <p:sp>
        <p:nvSpPr>
          <p:cNvPr id="57" name="TextBox 56">
            <a:extLst>
              <a:ext uri="{FF2B5EF4-FFF2-40B4-BE49-F238E27FC236}">
                <a16:creationId xmlns:a16="http://schemas.microsoft.com/office/drawing/2014/main" id="{76A277C2-D4D6-5C60-5E2E-1B870A840E40}"/>
              </a:ext>
            </a:extLst>
          </p:cNvPr>
          <p:cNvSpPr txBox="1"/>
          <p:nvPr/>
        </p:nvSpPr>
        <p:spPr>
          <a:xfrm>
            <a:off x="8413732" y="3773079"/>
            <a:ext cx="2156379" cy="1015663"/>
          </a:xfrm>
          <a:prstGeom prst="rect">
            <a:avLst/>
          </a:prstGeom>
          <a:noFill/>
        </p:spPr>
        <p:txBody>
          <a:bodyPr wrap="square" lIns="0" tIns="0" rIns="0" bIns="0">
            <a:spAutoFit/>
          </a:bodyPr>
          <a:lstStyle/>
          <a:p>
            <a:pPr algn="r"/>
            <a:r>
              <a:rPr lang="lv-LV" sz="1100">
                <a:effectLst/>
              </a:rPr>
              <a:t>Atbildīgā ministrija sagatavo informāciju Krīzes vadības padomei par humānās palīdzības veidu, apjomu, nepieciešamo finansējumu un avotu u.c.</a:t>
            </a:r>
            <a:br>
              <a:rPr lang="lv-LV" sz="1100">
                <a:effectLst/>
              </a:rPr>
            </a:br>
            <a:endParaRPr lang="lv-LV" sz="1100">
              <a:effectLst/>
            </a:endParaRPr>
          </a:p>
        </p:txBody>
      </p:sp>
      <p:sp>
        <p:nvSpPr>
          <p:cNvPr id="59" name="TextBox 58">
            <a:extLst>
              <a:ext uri="{FF2B5EF4-FFF2-40B4-BE49-F238E27FC236}">
                <a16:creationId xmlns:a16="http://schemas.microsoft.com/office/drawing/2014/main" id="{5485855A-5F47-03C8-7893-420B87BE6458}"/>
              </a:ext>
            </a:extLst>
          </p:cNvPr>
          <p:cNvSpPr txBox="1"/>
          <p:nvPr/>
        </p:nvSpPr>
        <p:spPr>
          <a:xfrm>
            <a:off x="6774968" y="3981235"/>
            <a:ext cx="1421481" cy="507831"/>
          </a:xfrm>
          <a:prstGeom prst="rect">
            <a:avLst/>
          </a:prstGeom>
          <a:noFill/>
        </p:spPr>
        <p:txBody>
          <a:bodyPr wrap="square" lIns="0" tIns="0" rIns="0" bIns="0">
            <a:spAutoFit/>
          </a:bodyPr>
          <a:lstStyle/>
          <a:p>
            <a:pPr algn="r"/>
            <a:r>
              <a:rPr lang="lv-LV" sz="1100">
                <a:effectLst/>
              </a:rPr>
              <a:t>Ministru Kabinets pieņem lēmumu par palīdzības sniegšanu</a:t>
            </a:r>
          </a:p>
        </p:txBody>
      </p:sp>
      <p:sp>
        <p:nvSpPr>
          <p:cNvPr id="60" name="TextBox 59">
            <a:extLst>
              <a:ext uri="{FF2B5EF4-FFF2-40B4-BE49-F238E27FC236}">
                <a16:creationId xmlns:a16="http://schemas.microsoft.com/office/drawing/2014/main" id="{C7C9B1B2-F091-929D-6C73-55E1935215C6}"/>
              </a:ext>
            </a:extLst>
          </p:cNvPr>
          <p:cNvSpPr txBox="1"/>
          <p:nvPr/>
        </p:nvSpPr>
        <p:spPr>
          <a:xfrm>
            <a:off x="8424252" y="5263160"/>
            <a:ext cx="1294098" cy="507831"/>
          </a:xfrm>
          <a:prstGeom prst="rect">
            <a:avLst/>
          </a:prstGeom>
          <a:noFill/>
        </p:spPr>
        <p:txBody>
          <a:bodyPr wrap="square" lIns="0" tIns="0" rIns="0" bIns="0">
            <a:spAutoFit/>
          </a:bodyPr>
          <a:lstStyle/>
          <a:p>
            <a:r>
              <a:rPr lang="lv-LV" sz="1100">
                <a:effectLst/>
              </a:rPr>
              <a:t>Ārlietu ministrija sagatavo turpmākos rīkojumus</a:t>
            </a:r>
          </a:p>
        </p:txBody>
      </p:sp>
      <p:sp>
        <p:nvSpPr>
          <p:cNvPr id="61" name="TextBox 60">
            <a:extLst>
              <a:ext uri="{FF2B5EF4-FFF2-40B4-BE49-F238E27FC236}">
                <a16:creationId xmlns:a16="http://schemas.microsoft.com/office/drawing/2014/main" id="{98646FAB-FC63-37FA-D056-DD81D68053F0}"/>
              </a:ext>
            </a:extLst>
          </p:cNvPr>
          <p:cNvSpPr txBox="1"/>
          <p:nvPr/>
        </p:nvSpPr>
        <p:spPr>
          <a:xfrm>
            <a:off x="10423692" y="5287728"/>
            <a:ext cx="1469336" cy="507831"/>
          </a:xfrm>
          <a:prstGeom prst="rect">
            <a:avLst/>
          </a:prstGeom>
          <a:noFill/>
        </p:spPr>
        <p:txBody>
          <a:bodyPr wrap="square" lIns="0" tIns="0" rIns="0" bIns="0">
            <a:spAutoFit/>
          </a:bodyPr>
          <a:lstStyle/>
          <a:p>
            <a:r>
              <a:rPr lang="lv-LV" sz="1100">
                <a:effectLst/>
              </a:rPr>
              <a:t>Atbildīgā ministrija koordinē humānās palīdzības sniegšanu</a:t>
            </a:r>
          </a:p>
        </p:txBody>
      </p:sp>
      <p:sp>
        <p:nvSpPr>
          <p:cNvPr id="62" name="Rectangle 61">
            <a:extLst>
              <a:ext uri="{FF2B5EF4-FFF2-40B4-BE49-F238E27FC236}">
                <a16:creationId xmlns:a16="http://schemas.microsoft.com/office/drawing/2014/main" id="{70B40295-89AF-A48C-7DAF-6B3F3024852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2967609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Virsraksts 1">
            <a:extLst>
              <a:ext uri="{FF2B5EF4-FFF2-40B4-BE49-F238E27FC236}">
                <a16:creationId xmlns:a16="http://schemas.microsoft.com/office/drawing/2014/main" id="{7BE3A8AD-8C51-26E1-C08D-D5A4B7F9E89F}"/>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uzdevumi (6/6)</a:t>
            </a:r>
          </a:p>
        </p:txBody>
      </p:sp>
      <p:sp>
        <p:nvSpPr>
          <p:cNvPr id="4" name="Slaida numura vietturis 3">
            <a:extLst>
              <a:ext uri="{FF2B5EF4-FFF2-40B4-BE49-F238E27FC236}">
                <a16:creationId xmlns:a16="http://schemas.microsoft.com/office/drawing/2014/main" id="{4E181810-F884-F6CC-E3DA-BFAF39816D25}"/>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fld id="{F2543E68-A660-4C4E-BC41-B4467BEBAC6D}" type="slidenum">
              <a:rPr lang="lv-LV" altLang="en-US" noProof="0"/>
              <a:pPr lvl="0"/>
              <a:t>14</a:t>
            </a:fld>
            <a:endParaRPr lang="lv-LV" altLang="en-US" noProof="0"/>
          </a:p>
        </p:txBody>
      </p:sp>
      <p:sp>
        <p:nvSpPr>
          <p:cNvPr id="10" name="Satura vietturis 2">
            <a:extLst>
              <a:ext uri="{FF2B5EF4-FFF2-40B4-BE49-F238E27FC236}">
                <a16:creationId xmlns:a16="http://schemas.microsoft.com/office/drawing/2014/main" id="{990D7B7C-28FD-7EAE-9877-EB18E7F1B41D}"/>
              </a:ext>
            </a:extLst>
          </p:cNvPr>
          <p:cNvSpPr txBox="1">
            <a:spLocks/>
          </p:cNvSpPr>
          <p:nvPr/>
        </p:nvSpPr>
        <p:spPr>
          <a:xfrm>
            <a:off x="1139874" y="1819275"/>
            <a:ext cx="10609214" cy="58680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Atbalstīt valsts aizsardzības sistēmu, ja noticis militārs iebrukums, vai sācies karš.</a:t>
            </a:r>
          </a:p>
        </p:txBody>
      </p:sp>
      <p:sp>
        <p:nvSpPr>
          <p:cNvPr id="11" name="Rectangle 10">
            <a:extLst>
              <a:ext uri="{FF2B5EF4-FFF2-40B4-BE49-F238E27FC236}">
                <a16:creationId xmlns:a16="http://schemas.microsoft.com/office/drawing/2014/main" id="{4866E3C2-EA1B-2589-93F7-2112CF3AA978}"/>
              </a:ext>
            </a:extLst>
          </p:cNvPr>
          <p:cNvSpPr/>
          <p:nvPr/>
        </p:nvSpPr>
        <p:spPr>
          <a:xfrm>
            <a:off x="442912" y="1820487"/>
            <a:ext cx="586800" cy="58578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2800" b="1"/>
              <a:t>8</a:t>
            </a:r>
          </a:p>
        </p:txBody>
      </p:sp>
      <p:pic>
        <p:nvPicPr>
          <p:cNvPr id="15" name="Picture 14">
            <a:extLst>
              <a:ext uri="{FF2B5EF4-FFF2-40B4-BE49-F238E27FC236}">
                <a16:creationId xmlns:a16="http://schemas.microsoft.com/office/drawing/2014/main" id="{1A628189-CC62-B433-A676-9429C7994656}"/>
              </a:ext>
            </a:extLst>
          </p:cNvPr>
          <p:cNvPicPr>
            <a:picLocks noChangeAspect="1"/>
          </p:cNvPicPr>
          <p:nvPr/>
        </p:nvPicPr>
        <p:blipFill>
          <a:blip r:embed="rId3"/>
          <a:srcRect t="3390" b="3390"/>
          <a:stretch/>
        </p:blipFill>
        <p:spPr>
          <a:xfrm>
            <a:off x="6275389" y="2769871"/>
            <a:ext cx="5473699" cy="3402013"/>
          </a:xfrm>
          <a:prstGeom prst="rect">
            <a:avLst/>
          </a:prstGeom>
        </p:spPr>
      </p:pic>
      <p:sp>
        <p:nvSpPr>
          <p:cNvPr id="16" name="Rectangle 15">
            <a:extLst>
              <a:ext uri="{FF2B5EF4-FFF2-40B4-BE49-F238E27FC236}">
                <a16:creationId xmlns:a16="http://schemas.microsoft.com/office/drawing/2014/main" id="{52EA0597-5988-4C19-FBFC-9689DDF051B2}"/>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 name="Satura vietturis 2">
            <a:extLst>
              <a:ext uri="{FF2B5EF4-FFF2-40B4-BE49-F238E27FC236}">
                <a16:creationId xmlns:a16="http://schemas.microsoft.com/office/drawing/2014/main" id="{A60F5FB7-0CBA-B6AD-4E69-15334C0634C3}"/>
              </a:ext>
            </a:extLst>
          </p:cNvPr>
          <p:cNvSpPr txBox="1">
            <a:spLocks/>
          </p:cNvSpPr>
          <p:nvPr/>
        </p:nvSpPr>
        <p:spPr>
          <a:xfrm>
            <a:off x="1139080" y="2775041"/>
            <a:ext cx="4776738" cy="47418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defRPr/>
            </a:pPr>
            <a:r>
              <a:rPr lang="lv-LV" altLang="lv-LV" sz="1600">
                <a:solidFill>
                  <a:schemeClr val="tx1"/>
                </a:solidFill>
              </a:rPr>
              <a:t>Atbilstoši Nacionālās drošības likumam:</a:t>
            </a:r>
            <a:endParaRPr lang="en-US" altLang="lv-LV" sz="1600">
              <a:solidFill>
                <a:schemeClr val="tx1"/>
              </a:solidFill>
            </a:endParaRPr>
          </a:p>
        </p:txBody>
      </p:sp>
      <p:sp>
        <p:nvSpPr>
          <p:cNvPr id="3" name="Rectangle 2">
            <a:extLst>
              <a:ext uri="{FF2B5EF4-FFF2-40B4-BE49-F238E27FC236}">
                <a16:creationId xmlns:a16="http://schemas.microsoft.com/office/drawing/2014/main" id="{1DD851DC-CF67-4A0E-B738-22566CEA017E}"/>
              </a:ext>
            </a:extLst>
          </p:cNvPr>
          <p:cNvSpPr/>
          <p:nvPr/>
        </p:nvSpPr>
        <p:spPr>
          <a:xfrm>
            <a:off x="442118" y="2774565"/>
            <a:ext cx="586800" cy="474663"/>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 name="Freeform 107">
            <a:extLst>
              <a:ext uri="{FF2B5EF4-FFF2-40B4-BE49-F238E27FC236}">
                <a16:creationId xmlns:a16="http://schemas.microsoft.com/office/drawing/2014/main" id="{5146482E-4B58-7842-B246-AFFC6987ABF9}"/>
              </a:ext>
            </a:extLst>
          </p:cNvPr>
          <p:cNvSpPr/>
          <p:nvPr/>
        </p:nvSpPr>
        <p:spPr>
          <a:xfrm>
            <a:off x="546606" y="2822190"/>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436639 w 456085"/>
              <a:gd name="connsiteY4" fmla="*/ 436458 h 455929"/>
              <a:gd name="connsiteX5" fmla="*/ 19447 w 456085"/>
              <a:gd name="connsiteY5" fmla="*/ 436458 h 455929"/>
              <a:gd name="connsiteX6" fmla="*/ 19447 w 456085"/>
              <a:gd name="connsiteY6" fmla="*/ 19440 h 455929"/>
              <a:gd name="connsiteX7" fmla="*/ 436639 w 456085"/>
              <a:gd name="connsiteY7" fmla="*/ 19440 h 455929"/>
              <a:gd name="connsiteX8" fmla="*/ 343711 w 456085"/>
              <a:gd name="connsiteY8" fmla="*/ 97423 h 455929"/>
              <a:gd name="connsiteX9" fmla="*/ 277199 w 456085"/>
              <a:gd name="connsiteY9" fmla="*/ 97423 h 455929"/>
              <a:gd name="connsiteX10" fmla="*/ 218427 w 456085"/>
              <a:gd name="connsiteY10" fmla="*/ 57770 h 455929"/>
              <a:gd name="connsiteX11" fmla="*/ 178760 w 456085"/>
              <a:gd name="connsiteY11" fmla="*/ 97423 h 455929"/>
              <a:gd name="connsiteX12" fmla="*/ 92832 w 456085"/>
              <a:gd name="connsiteY12" fmla="*/ 97423 h 455929"/>
              <a:gd name="connsiteX13" fmla="*/ 92832 w 456085"/>
              <a:gd name="connsiteY13" fmla="*/ 141180 h 455929"/>
              <a:gd name="connsiteX14" fmla="*/ 112469 w 456085"/>
              <a:gd name="connsiteY14" fmla="*/ 141180 h 455929"/>
              <a:gd name="connsiteX15" fmla="*/ 112469 w 456085"/>
              <a:gd name="connsiteY15" fmla="*/ 117054 h 455929"/>
              <a:gd name="connsiteX16" fmla="*/ 178982 w 456085"/>
              <a:gd name="connsiteY16" fmla="*/ 117054 h 455929"/>
              <a:gd name="connsiteX17" fmla="*/ 218985 w 456085"/>
              <a:gd name="connsiteY17" fmla="*/ 156314 h 455929"/>
              <a:gd name="connsiteX18" fmla="*/ 218383 w 456085"/>
              <a:gd name="connsiteY18" fmla="*/ 156314 h 455929"/>
              <a:gd name="connsiteX19" fmla="*/ 218383 w 456085"/>
              <a:gd name="connsiteY19" fmla="*/ 388395 h 455929"/>
              <a:gd name="connsiteX20" fmla="*/ 159947 w 456085"/>
              <a:gd name="connsiteY20" fmla="*/ 388395 h 455929"/>
              <a:gd name="connsiteX21" fmla="*/ 159947 w 456085"/>
              <a:gd name="connsiteY21" fmla="*/ 407962 h 455929"/>
              <a:gd name="connsiteX22" fmla="*/ 296139 w 456085"/>
              <a:gd name="connsiteY22" fmla="*/ 407962 h 455929"/>
              <a:gd name="connsiteX23" fmla="*/ 296139 w 456085"/>
              <a:gd name="connsiteY23" fmla="*/ 388522 h 455929"/>
              <a:gd name="connsiteX24" fmla="*/ 237798 w 456085"/>
              <a:gd name="connsiteY24" fmla="*/ 388522 h 455929"/>
              <a:gd name="connsiteX25" fmla="*/ 237798 w 456085"/>
              <a:gd name="connsiteY25" fmla="*/ 156441 h 455929"/>
              <a:gd name="connsiteX26" fmla="*/ 237196 w 456085"/>
              <a:gd name="connsiteY26" fmla="*/ 156441 h 455929"/>
              <a:gd name="connsiteX27" fmla="*/ 277199 w 456085"/>
              <a:gd name="connsiteY27" fmla="*/ 117180 h 455929"/>
              <a:gd name="connsiteX28" fmla="*/ 343711 w 456085"/>
              <a:gd name="connsiteY28" fmla="*/ 117180 h 455929"/>
              <a:gd name="connsiteX29" fmla="*/ 343711 w 456085"/>
              <a:gd name="connsiteY29" fmla="*/ 141307 h 455929"/>
              <a:gd name="connsiteX30" fmla="*/ 363317 w 456085"/>
              <a:gd name="connsiteY30" fmla="*/ 141307 h 455929"/>
              <a:gd name="connsiteX31" fmla="*/ 363317 w 456085"/>
              <a:gd name="connsiteY31" fmla="*/ 97423 h 455929"/>
              <a:gd name="connsiteX32" fmla="*/ 257403 w 456085"/>
              <a:gd name="connsiteY32" fmla="*/ 117054 h 455929"/>
              <a:gd name="connsiteX33" fmla="*/ 218025 w 456085"/>
              <a:gd name="connsiteY33" fmla="*/ 136136 h 455929"/>
              <a:gd name="connsiteX34" fmla="*/ 198936 w 456085"/>
              <a:gd name="connsiteY34" fmla="*/ 117054 h 455929"/>
              <a:gd name="connsiteX35" fmla="*/ 197162 w 456085"/>
              <a:gd name="connsiteY35" fmla="*/ 106827 h 455929"/>
              <a:gd name="connsiteX36" fmla="*/ 198619 w 456085"/>
              <a:gd name="connsiteY36" fmla="*/ 97328 h 455929"/>
              <a:gd name="connsiteX37" fmla="*/ 237564 w 456085"/>
              <a:gd name="connsiteY37" fmla="*/ 77176 h 455929"/>
              <a:gd name="connsiteX38" fmla="*/ 259177 w 456085"/>
              <a:gd name="connsiteY38" fmla="*/ 106827 h 455929"/>
              <a:gd name="connsiteX39" fmla="*/ 257403 w 456085"/>
              <a:gd name="connsiteY39" fmla="*/ 117054 h 455929"/>
              <a:gd name="connsiteX40" fmla="*/ 102651 w 456085"/>
              <a:gd name="connsiteY40" fmla="*/ 148082 h 455929"/>
              <a:gd name="connsiteX41" fmla="*/ 39813 w 456085"/>
              <a:gd name="connsiteY41" fmla="*/ 272260 h 455929"/>
              <a:gd name="connsiteX42" fmla="*/ 165394 w 456085"/>
              <a:gd name="connsiteY42" fmla="*/ 272260 h 455929"/>
              <a:gd name="connsiteX43" fmla="*/ 102651 w 456085"/>
              <a:gd name="connsiteY43" fmla="*/ 191174 h 455929"/>
              <a:gd name="connsiteX44" fmla="*/ 133722 w 456085"/>
              <a:gd name="connsiteY44" fmla="*/ 252819 h 455929"/>
              <a:gd name="connsiteX45" fmla="*/ 71453 w 456085"/>
              <a:gd name="connsiteY45" fmla="*/ 252819 h 455929"/>
              <a:gd name="connsiteX46" fmla="*/ 353435 w 456085"/>
              <a:gd name="connsiteY46" fmla="*/ 148082 h 455929"/>
              <a:gd name="connsiteX47" fmla="*/ 290628 w 456085"/>
              <a:gd name="connsiteY47" fmla="*/ 272260 h 455929"/>
              <a:gd name="connsiteX48" fmla="*/ 416242 w 456085"/>
              <a:gd name="connsiteY48" fmla="*/ 272260 h 455929"/>
              <a:gd name="connsiteX49" fmla="*/ 353435 w 456085"/>
              <a:gd name="connsiteY49" fmla="*/ 191174 h 455929"/>
              <a:gd name="connsiteX50" fmla="*/ 384601 w 456085"/>
              <a:gd name="connsiteY50" fmla="*/ 252819 h 455929"/>
              <a:gd name="connsiteX51" fmla="*/ 322237 w 456085"/>
              <a:gd name="connsiteY51" fmla="*/ 25281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56085" h="455929">
                <a:moveTo>
                  <a:pt x="0" y="0"/>
                </a:moveTo>
                <a:lnTo>
                  <a:pt x="0" y="455930"/>
                </a:lnTo>
                <a:lnTo>
                  <a:pt x="456086" y="455930"/>
                </a:lnTo>
                <a:lnTo>
                  <a:pt x="456086" y="0"/>
                </a:lnTo>
                <a:close/>
                <a:moveTo>
                  <a:pt x="436639" y="436458"/>
                </a:moveTo>
                <a:lnTo>
                  <a:pt x="19447" y="436458"/>
                </a:lnTo>
                <a:lnTo>
                  <a:pt x="19447" y="19440"/>
                </a:lnTo>
                <a:lnTo>
                  <a:pt x="436639" y="19440"/>
                </a:lnTo>
                <a:close/>
                <a:moveTo>
                  <a:pt x="343711" y="97423"/>
                </a:moveTo>
                <a:lnTo>
                  <a:pt x="277199" y="97423"/>
                </a:lnTo>
                <a:cubicBezTo>
                  <a:pt x="271922" y="70248"/>
                  <a:pt x="245609" y="52495"/>
                  <a:pt x="218427" y="57770"/>
                </a:cubicBezTo>
                <a:cubicBezTo>
                  <a:pt x="198353" y="61664"/>
                  <a:pt x="182656" y="77356"/>
                  <a:pt x="178760" y="97423"/>
                </a:cubicBezTo>
                <a:lnTo>
                  <a:pt x="92832" y="97423"/>
                </a:lnTo>
                <a:lnTo>
                  <a:pt x="92832" y="141180"/>
                </a:lnTo>
                <a:lnTo>
                  <a:pt x="112469" y="141180"/>
                </a:lnTo>
                <a:lnTo>
                  <a:pt x="112469" y="117054"/>
                </a:lnTo>
                <a:lnTo>
                  <a:pt x="178982" y="117054"/>
                </a:lnTo>
                <a:cubicBezTo>
                  <a:pt x="183093" y="137054"/>
                  <a:pt x="198907" y="152575"/>
                  <a:pt x="218985" y="156314"/>
                </a:cubicBezTo>
                <a:lnTo>
                  <a:pt x="218383" y="156314"/>
                </a:lnTo>
                <a:lnTo>
                  <a:pt x="218383" y="388395"/>
                </a:lnTo>
                <a:lnTo>
                  <a:pt x="159947" y="388395"/>
                </a:lnTo>
                <a:lnTo>
                  <a:pt x="159947" y="407962"/>
                </a:lnTo>
                <a:lnTo>
                  <a:pt x="296139" y="407962"/>
                </a:lnTo>
                <a:lnTo>
                  <a:pt x="296139" y="388522"/>
                </a:lnTo>
                <a:lnTo>
                  <a:pt x="237798" y="388522"/>
                </a:lnTo>
                <a:lnTo>
                  <a:pt x="237798" y="156441"/>
                </a:lnTo>
                <a:lnTo>
                  <a:pt x="237196" y="156441"/>
                </a:lnTo>
                <a:cubicBezTo>
                  <a:pt x="257274" y="152702"/>
                  <a:pt x="273088" y="137181"/>
                  <a:pt x="277199" y="117180"/>
                </a:cubicBezTo>
                <a:lnTo>
                  <a:pt x="343711" y="117180"/>
                </a:lnTo>
                <a:lnTo>
                  <a:pt x="343711" y="141307"/>
                </a:lnTo>
                <a:lnTo>
                  <a:pt x="363317" y="141307"/>
                </a:lnTo>
                <a:lnTo>
                  <a:pt x="363317" y="97423"/>
                </a:lnTo>
                <a:close/>
                <a:moveTo>
                  <a:pt x="257403" y="117054"/>
                </a:moveTo>
                <a:cubicBezTo>
                  <a:pt x="251801" y="133195"/>
                  <a:pt x="234168" y="141737"/>
                  <a:pt x="218025" y="136136"/>
                </a:cubicBezTo>
                <a:cubicBezTo>
                  <a:pt x="209074" y="133030"/>
                  <a:pt x="202043" y="126001"/>
                  <a:pt x="198936" y="117054"/>
                </a:cubicBezTo>
                <a:cubicBezTo>
                  <a:pt x="197767" y="113770"/>
                  <a:pt x="197165" y="110313"/>
                  <a:pt x="197162" y="106827"/>
                </a:cubicBezTo>
                <a:cubicBezTo>
                  <a:pt x="197165" y="103607"/>
                  <a:pt x="197656" y="100403"/>
                  <a:pt x="198619" y="97328"/>
                </a:cubicBezTo>
                <a:cubicBezTo>
                  <a:pt x="203807" y="81013"/>
                  <a:pt x="221243" y="71993"/>
                  <a:pt x="237564" y="77176"/>
                </a:cubicBezTo>
                <a:cubicBezTo>
                  <a:pt x="250473" y="81279"/>
                  <a:pt x="259225" y="93285"/>
                  <a:pt x="259177" y="106827"/>
                </a:cubicBezTo>
                <a:cubicBezTo>
                  <a:pt x="259174" y="110313"/>
                  <a:pt x="258572" y="113770"/>
                  <a:pt x="257403" y="117054"/>
                </a:cubicBezTo>
                <a:close/>
                <a:moveTo>
                  <a:pt x="102651" y="148082"/>
                </a:moveTo>
                <a:lnTo>
                  <a:pt x="39813" y="272260"/>
                </a:lnTo>
                <a:lnTo>
                  <a:pt x="165394" y="272260"/>
                </a:lnTo>
                <a:close/>
                <a:moveTo>
                  <a:pt x="102651" y="191174"/>
                </a:moveTo>
                <a:lnTo>
                  <a:pt x="133722" y="252819"/>
                </a:lnTo>
                <a:lnTo>
                  <a:pt x="71453" y="252819"/>
                </a:lnTo>
                <a:close/>
                <a:moveTo>
                  <a:pt x="353435" y="148082"/>
                </a:moveTo>
                <a:lnTo>
                  <a:pt x="290628" y="272260"/>
                </a:lnTo>
                <a:lnTo>
                  <a:pt x="416242" y="272260"/>
                </a:lnTo>
                <a:close/>
                <a:moveTo>
                  <a:pt x="353435" y="191174"/>
                </a:moveTo>
                <a:lnTo>
                  <a:pt x="384601" y="252819"/>
                </a:lnTo>
                <a:lnTo>
                  <a:pt x="322237" y="252819"/>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19" name="Satura vietturis 2">
            <a:extLst>
              <a:ext uri="{FF2B5EF4-FFF2-40B4-BE49-F238E27FC236}">
                <a16:creationId xmlns:a16="http://schemas.microsoft.com/office/drawing/2014/main" id="{CC83A316-EBD9-7A50-D937-A4929EE87B17}"/>
              </a:ext>
            </a:extLst>
          </p:cNvPr>
          <p:cNvSpPr txBox="1">
            <a:spLocks/>
          </p:cNvSpPr>
          <p:nvPr/>
        </p:nvSpPr>
        <p:spPr>
          <a:xfrm>
            <a:off x="1139080" y="4837924"/>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sz="1600" b="0">
                <a:solidFill>
                  <a:schemeClr val="tx1"/>
                </a:solidFill>
              </a:rPr>
              <a:t>Ministru kabinets atbild par valsts apdraudējuma pārvarēšanu un tā seku likvidēšanu.</a:t>
            </a:r>
            <a:endParaRPr lang="lv-LV" altLang="lv-LV" sz="1600" b="0">
              <a:solidFill>
                <a:schemeClr val="tx1"/>
              </a:solidFill>
            </a:endParaRPr>
          </a:p>
        </p:txBody>
      </p:sp>
      <p:sp>
        <p:nvSpPr>
          <p:cNvPr id="20" name="Satura vietturis 2">
            <a:extLst>
              <a:ext uri="{FF2B5EF4-FFF2-40B4-BE49-F238E27FC236}">
                <a16:creationId xmlns:a16="http://schemas.microsoft.com/office/drawing/2014/main" id="{6210AE04-228B-1F12-6E85-605287FD32AA}"/>
              </a:ext>
            </a:extLst>
          </p:cNvPr>
          <p:cNvSpPr txBox="1">
            <a:spLocks/>
          </p:cNvSpPr>
          <p:nvPr/>
        </p:nvSpPr>
        <p:spPr>
          <a:xfrm>
            <a:off x="1139080" y="3376596"/>
            <a:ext cx="4776738" cy="133396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b="0">
                <a:solidFill>
                  <a:schemeClr val="tx1"/>
                </a:solidFill>
              </a:rPr>
              <a:t>Kara vai tā pieteikšanas gadījumā par nacionālo drošību un valsts aizsardzību atbildīgajām amatpersonām nav tiesību atteikties aizsargāt valsti un sabiedrību.</a:t>
            </a:r>
            <a:endParaRPr lang="lv-LV" altLang="lv-LV" sz="1600" b="0">
              <a:solidFill>
                <a:schemeClr val="tx1"/>
              </a:solidFill>
              <a:cs typeface="Arial"/>
            </a:endParaRPr>
          </a:p>
        </p:txBody>
      </p:sp>
      <p:sp>
        <p:nvSpPr>
          <p:cNvPr id="21" name="Rectangle 20">
            <a:extLst>
              <a:ext uri="{FF2B5EF4-FFF2-40B4-BE49-F238E27FC236}">
                <a16:creationId xmlns:a16="http://schemas.microsoft.com/office/drawing/2014/main" id="{D33422EC-B894-754B-5633-14219F8A7426}"/>
              </a:ext>
            </a:extLst>
          </p:cNvPr>
          <p:cNvSpPr/>
          <p:nvPr/>
        </p:nvSpPr>
        <p:spPr>
          <a:xfrm>
            <a:off x="442118" y="48374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2" name="Rectangle 21">
            <a:extLst>
              <a:ext uri="{FF2B5EF4-FFF2-40B4-BE49-F238E27FC236}">
                <a16:creationId xmlns:a16="http://schemas.microsoft.com/office/drawing/2014/main" id="{235ADD3C-593F-14AC-9974-0A9408E8456D}"/>
              </a:ext>
            </a:extLst>
          </p:cNvPr>
          <p:cNvSpPr/>
          <p:nvPr/>
        </p:nvSpPr>
        <p:spPr>
          <a:xfrm>
            <a:off x="442118" y="3376912"/>
            <a:ext cx="586800" cy="13335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3" name="Freeform 32">
            <a:extLst>
              <a:ext uri="{FF2B5EF4-FFF2-40B4-BE49-F238E27FC236}">
                <a16:creationId xmlns:a16="http://schemas.microsoft.com/office/drawing/2014/main" id="{286FA00F-4C3F-AB4F-9975-0C2C1AD15B9C}"/>
              </a:ext>
            </a:extLst>
          </p:cNvPr>
          <p:cNvSpPr/>
          <p:nvPr/>
        </p:nvSpPr>
        <p:spPr>
          <a:xfrm>
            <a:off x="546606" y="3853956"/>
            <a:ext cx="377825" cy="379413"/>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81652 w 456085"/>
              <a:gd name="connsiteY4" fmla="*/ 436490 h 455929"/>
              <a:gd name="connsiteX5" fmla="*/ 81652 w 456085"/>
              <a:gd name="connsiteY5" fmla="*/ 376934 h 455929"/>
              <a:gd name="connsiteX6" fmla="*/ 97963 w 456085"/>
              <a:gd name="connsiteY6" fmla="*/ 348660 h 455929"/>
              <a:gd name="connsiteX7" fmla="*/ 142305 w 456085"/>
              <a:gd name="connsiteY7" fmla="*/ 326971 h 455929"/>
              <a:gd name="connsiteX8" fmla="*/ 160105 w 456085"/>
              <a:gd name="connsiteY8" fmla="*/ 318264 h 455929"/>
              <a:gd name="connsiteX9" fmla="*/ 166440 w 456085"/>
              <a:gd name="connsiteY9" fmla="*/ 315098 h 455929"/>
              <a:gd name="connsiteX10" fmla="*/ 172996 w 456085"/>
              <a:gd name="connsiteY10" fmla="*/ 360850 h 455929"/>
              <a:gd name="connsiteX11" fmla="*/ 186868 w 456085"/>
              <a:gd name="connsiteY11" fmla="*/ 366897 h 455929"/>
              <a:gd name="connsiteX12" fmla="*/ 214044 w 456085"/>
              <a:gd name="connsiteY12" fmla="*/ 348153 h 455929"/>
              <a:gd name="connsiteX13" fmla="*/ 207392 w 456085"/>
              <a:gd name="connsiteY13" fmla="*/ 361989 h 455929"/>
              <a:gd name="connsiteX14" fmla="*/ 220061 w 456085"/>
              <a:gd name="connsiteY14" fmla="*/ 436490 h 455929"/>
              <a:gd name="connsiteX15" fmla="*/ 193045 w 456085"/>
              <a:gd name="connsiteY15" fmla="*/ 96062 h 455929"/>
              <a:gd name="connsiteX16" fmla="*/ 197289 w 456085"/>
              <a:gd name="connsiteY16" fmla="*/ 105561 h 455929"/>
              <a:gd name="connsiteX17" fmla="*/ 172869 w 456085"/>
              <a:gd name="connsiteY17" fmla="*/ 111228 h 455929"/>
              <a:gd name="connsiteX18" fmla="*/ 135495 w 456085"/>
              <a:gd name="connsiteY18" fmla="*/ 129592 h 455929"/>
              <a:gd name="connsiteX19" fmla="*/ 131093 w 456085"/>
              <a:gd name="connsiteY19" fmla="*/ 125191 h 455929"/>
              <a:gd name="connsiteX20" fmla="*/ 145726 w 456085"/>
              <a:gd name="connsiteY20" fmla="*/ 93529 h 455929"/>
              <a:gd name="connsiteX21" fmla="*/ 193235 w 456085"/>
              <a:gd name="connsiteY21" fmla="*/ 73234 h 455929"/>
              <a:gd name="connsiteX22" fmla="*/ 192950 w 456085"/>
              <a:gd name="connsiteY22" fmla="*/ 96157 h 455929"/>
              <a:gd name="connsiteX23" fmla="*/ 155608 w 456085"/>
              <a:gd name="connsiteY23" fmla="*/ 139154 h 455929"/>
              <a:gd name="connsiteX24" fmla="*/ 181389 w 456085"/>
              <a:gd name="connsiteY24" fmla="*/ 128484 h 455929"/>
              <a:gd name="connsiteX25" fmla="*/ 225351 w 456085"/>
              <a:gd name="connsiteY25" fmla="*/ 122151 h 455929"/>
              <a:gd name="connsiteX26" fmla="*/ 232509 w 456085"/>
              <a:gd name="connsiteY26" fmla="*/ 122151 h 455929"/>
              <a:gd name="connsiteX27" fmla="*/ 272511 w 456085"/>
              <a:gd name="connsiteY27" fmla="*/ 126996 h 455929"/>
              <a:gd name="connsiteX28" fmla="*/ 293985 w 456085"/>
              <a:gd name="connsiteY28" fmla="*/ 135797 h 455929"/>
              <a:gd name="connsiteX29" fmla="*/ 299876 w 456085"/>
              <a:gd name="connsiteY29" fmla="*/ 139945 h 455929"/>
              <a:gd name="connsiteX30" fmla="*/ 304311 w 456085"/>
              <a:gd name="connsiteY30" fmla="*/ 144061 h 455929"/>
              <a:gd name="connsiteX31" fmla="*/ 301143 w 456085"/>
              <a:gd name="connsiteY31" fmla="*/ 147227 h 455929"/>
              <a:gd name="connsiteX32" fmla="*/ 280366 w 456085"/>
              <a:gd name="connsiteY32" fmla="*/ 139629 h 455929"/>
              <a:gd name="connsiteX33" fmla="*/ 229151 w 456085"/>
              <a:gd name="connsiteY33" fmla="*/ 132473 h 455929"/>
              <a:gd name="connsiteX34" fmla="*/ 227409 w 456085"/>
              <a:gd name="connsiteY34" fmla="*/ 132473 h 455929"/>
              <a:gd name="connsiteX35" fmla="*/ 174484 w 456085"/>
              <a:gd name="connsiteY35" fmla="*/ 139945 h 455929"/>
              <a:gd name="connsiteX36" fmla="*/ 153042 w 456085"/>
              <a:gd name="connsiteY36" fmla="*/ 147481 h 455929"/>
              <a:gd name="connsiteX37" fmla="*/ 153042 w 456085"/>
              <a:gd name="connsiteY37" fmla="*/ 147481 h 455929"/>
              <a:gd name="connsiteX38" fmla="*/ 149051 w 456085"/>
              <a:gd name="connsiteY38" fmla="*/ 143491 h 455929"/>
              <a:gd name="connsiteX39" fmla="*/ 155608 w 456085"/>
              <a:gd name="connsiteY39" fmla="*/ 139154 h 455929"/>
              <a:gd name="connsiteX40" fmla="*/ 210465 w 456085"/>
              <a:gd name="connsiteY40" fmla="*/ 85044 h 455929"/>
              <a:gd name="connsiteX41" fmla="*/ 226079 w 456085"/>
              <a:gd name="connsiteY41" fmla="*/ 66996 h 455929"/>
              <a:gd name="connsiteX42" fmla="*/ 241694 w 456085"/>
              <a:gd name="connsiteY42" fmla="*/ 85044 h 455929"/>
              <a:gd name="connsiteX43" fmla="*/ 241314 w 456085"/>
              <a:gd name="connsiteY43" fmla="*/ 88875 h 455929"/>
              <a:gd name="connsiteX44" fmla="*/ 227314 w 456085"/>
              <a:gd name="connsiteY44" fmla="*/ 102996 h 455929"/>
              <a:gd name="connsiteX45" fmla="*/ 226079 w 456085"/>
              <a:gd name="connsiteY45" fmla="*/ 102996 h 455929"/>
              <a:gd name="connsiteX46" fmla="*/ 225382 w 456085"/>
              <a:gd name="connsiteY46" fmla="*/ 102996 h 455929"/>
              <a:gd name="connsiteX47" fmla="*/ 211035 w 456085"/>
              <a:gd name="connsiteY47" fmla="*/ 89508 h 455929"/>
              <a:gd name="connsiteX48" fmla="*/ 210465 w 456085"/>
              <a:gd name="connsiteY48" fmla="*/ 85044 h 455929"/>
              <a:gd name="connsiteX49" fmla="*/ 258290 w 456085"/>
              <a:gd name="connsiteY49" fmla="*/ 71619 h 455929"/>
              <a:gd name="connsiteX50" fmla="*/ 309188 w 456085"/>
              <a:gd name="connsiteY50" fmla="*/ 93434 h 455929"/>
              <a:gd name="connsiteX51" fmla="*/ 323631 w 456085"/>
              <a:gd name="connsiteY51" fmla="*/ 124431 h 455929"/>
              <a:gd name="connsiteX52" fmla="*/ 317708 w 456085"/>
              <a:gd name="connsiteY52" fmla="*/ 130383 h 455929"/>
              <a:gd name="connsiteX53" fmla="*/ 305831 w 456085"/>
              <a:gd name="connsiteY53" fmla="*/ 120632 h 455929"/>
              <a:gd name="connsiteX54" fmla="*/ 280493 w 456085"/>
              <a:gd name="connsiteY54" fmla="*/ 109297 h 455929"/>
              <a:gd name="connsiteX55" fmla="*/ 255598 w 456085"/>
              <a:gd name="connsiteY55" fmla="*/ 104326 h 455929"/>
              <a:gd name="connsiteX56" fmla="*/ 259462 w 456085"/>
              <a:gd name="connsiteY56" fmla="*/ 94827 h 455929"/>
              <a:gd name="connsiteX57" fmla="*/ 258322 w 456085"/>
              <a:gd name="connsiteY57" fmla="*/ 71714 h 455929"/>
              <a:gd name="connsiteX58" fmla="*/ 168688 w 456085"/>
              <a:gd name="connsiteY58" fmla="*/ 165465 h 455929"/>
              <a:gd name="connsiteX59" fmla="*/ 168910 w 456085"/>
              <a:gd name="connsiteY59" fmla="*/ 161412 h 455929"/>
              <a:gd name="connsiteX60" fmla="*/ 227726 w 456085"/>
              <a:gd name="connsiteY60" fmla="*/ 151185 h 455929"/>
              <a:gd name="connsiteX61" fmla="*/ 229278 w 456085"/>
              <a:gd name="connsiteY61" fmla="*/ 151185 h 455929"/>
              <a:gd name="connsiteX62" fmla="*/ 286289 w 456085"/>
              <a:gd name="connsiteY62" fmla="*/ 161317 h 455929"/>
              <a:gd name="connsiteX63" fmla="*/ 286511 w 456085"/>
              <a:gd name="connsiteY63" fmla="*/ 165496 h 455929"/>
              <a:gd name="connsiteX64" fmla="*/ 286511 w 456085"/>
              <a:gd name="connsiteY64" fmla="*/ 166098 h 455929"/>
              <a:gd name="connsiteX65" fmla="*/ 261996 w 456085"/>
              <a:gd name="connsiteY65" fmla="*/ 235754 h 455929"/>
              <a:gd name="connsiteX66" fmla="*/ 261109 w 456085"/>
              <a:gd name="connsiteY66" fmla="*/ 236735 h 455929"/>
              <a:gd name="connsiteX67" fmla="*/ 259842 w 456085"/>
              <a:gd name="connsiteY67" fmla="*/ 238287 h 455929"/>
              <a:gd name="connsiteX68" fmla="*/ 227536 w 456085"/>
              <a:gd name="connsiteY68" fmla="*/ 260830 h 455929"/>
              <a:gd name="connsiteX69" fmla="*/ 195230 w 456085"/>
              <a:gd name="connsiteY69" fmla="*/ 238318 h 455929"/>
              <a:gd name="connsiteX70" fmla="*/ 193995 w 456085"/>
              <a:gd name="connsiteY70" fmla="*/ 236767 h 455929"/>
              <a:gd name="connsiteX71" fmla="*/ 193076 w 456085"/>
              <a:gd name="connsiteY71" fmla="*/ 235754 h 455929"/>
              <a:gd name="connsiteX72" fmla="*/ 168530 w 456085"/>
              <a:gd name="connsiteY72" fmla="*/ 166098 h 455929"/>
              <a:gd name="connsiteX73" fmla="*/ 168688 w 456085"/>
              <a:gd name="connsiteY73" fmla="*/ 165465 h 455929"/>
              <a:gd name="connsiteX74" fmla="*/ 227631 w 456085"/>
              <a:gd name="connsiteY74" fmla="*/ 278941 h 455929"/>
              <a:gd name="connsiteX75" fmla="*/ 227631 w 456085"/>
              <a:gd name="connsiteY75" fmla="*/ 278941 h 455929"/>
              <a:gd name="connsiteX76" fmla="*/ 253286 w 456085"/>
              <a:gd name="connsiteY76" fmla="*/ 269759 h 455929"/>
              <a:gd name="connsiteX77" fmla="*/ 253286 w 456085"/>
              <a:gd name="connsiteY77" fmla="*/ 291384 h 455929"/>
              <a:gd name="connsiteX78" fmla="*/ 227631 w 456085"/>
              <a:gd name="connsiteY78" fmla="*/ 330011 h 455929"/>
              <a:gd name="connsiteX79" fmla="*/ 201945 w 456085"/>
              <a:gd name="connsiteY79" fmla="*/ 291384 h 455929"/>
              <a:gd name="connsiteX80" fmla="*/ 201945 w 456085"/>
              <a:gd name="connsiteY80" fmla="*/ 269759 h 455929"/>
              <a:gd name="connsiteX81" fmla="*/ 227631 w 456085"/>
              <a:gd name="connsiteY81" fmla="*/ 278941 h 455929"/>
              <a:gd name="connsiteX82" fmla="*/ 266367 w 456085"/>
              <a:gd name="connsiteY82" fmla="*/ 303922 h 455929"/>
              <a:gd name="connsiteX83" fmla="*/ 272701 w 456085"/>
              <a:gd name="connsiteY83" fmla="*/ 307088 h 455929"/>
              <a:gd name="connsiteX84" fmla="*/ 267412 w 456085"/>
              <a:gd name="connsiteY84" fmla="*/ 344005 h 455929"/>
              <a:gd name="connsiteX85" fmla="*/ 248408 w 456085"/>
              <a:gd name="connsiteY85" fmla="*/ 330866 h 455929"/>
              <a:gd name="connsiteX86" fmla="*/ 207139 w 456085"/>
              <a:gd name="connsiteY86" fmla="*/ 331341 h 455929"/>
              <a:gd name="connsiteX87" fmla="*/ 188832 w 456085"/>
              <a:gd name="connsiteY87" fmla="*/ 344005 h 455929"/>
              <a:gd name="connsiteX88" fmla="*/ 183448 w 456085"/>
              <a:gd name="connsiteY88" fmla="*/ 306961 h 455929"/>
              <a:gd name="connsiteX89" fmla="*/ 189244 w 456085"/>
              <a:gd name="connsiteY89" fmla="*/ 304143 h 455929"/>
              <a:gd name="connsiteX90" fmla="*/ 228043 w 456085"/>
              <a:gd name="connsiteY90" fmla="*/ 396564 h 455929"/>
              <a:gd name="connsiteX91" fmla="*/ 222785 w 456085"/>
              <a:gd name="connsiteY91" fmla="*/ 365124 h 455929"/>
              <a:gd name="connsiteX92" fmla="*/ 228043 w 456085"/>
              <a:gd name="connsiteY92" fmla="*/ 354200 h 455929"/>
              <a:gd name="connsiteX93" fmla="*/ 233300 w 456085"/>
              <a:gd name="connsiteY93" fmla="*/ 365124 h 455929"/>
              <a:gd name="connsiteX94" fmla="*/ 374434 w 456085"/>
              <a:gd name="connsiteY94" fmla="*/ 436268 h 455929"/>
              <a:gd name="connsiteX95" fmla="*/ 235866 w 456085"/>
              <a:gd name="connsiteY95" fmla="*/ 436268 h 455929"/>
              <a:gd name="connsiteX96" fmla="*/ 248535 w 456085"/>
              <a:gd name="connsiteY96" fmla="*/ 361989 h 455929"/>
              <a:gd name="connsiteX97" fmla="*/ 241852 w 456085"/>
              <a:gd name="connsiteY97" fmla="*/ 348153 h 455929"/>
              <a:gd name="connsiteX98" fmla="*/ 269059 w 456085"/>
              <a:gd name="connsiteY98" fmla="*/ 366897 h 455929"/>
              <a:gd name="connsiteX99" fmla="*/ 282900 w 456085"/>
              <a:gd name="connsiteY99" fmla="*/ 360850 h 455929"/>
              <a:gd name="connsiteX100" fmla="*/ 289519 w 456085"/>
              <a:gd name="connsiteY100" fmla="*/ 315225 h 455929"/>
              <a:gd name="connsiteX101" fmla="*/ 307034 w 456085"/>
              <a:gd name="connsiteY101" fmla="*/ 323742 h 455929"/>
              <a:gd name="connsiteX102" fmla="*/ 358914 w 456085"/>
              <a:gd name="connsiteY102" fmla="*/ 349071 h 455929"/>
              <a:gd name="connsiteX103" fmla="*/ 374370 w 456085"/>
              <a:gd name="connsiteY103" fmla="*/ 377409 h 455929"/>
              <a:gd name="connsiteX104" fmla="*/ 436639 w 456085"/>
              <a:gd name="connsiteY104" fmla="*/ 436268 h 455929"/>
              <a:gd name="connsiteX105" fmla="*/ 392297 w 456085"/>
              <a:gd name="connsiteY105" fmla="*/ 436268 h 455929"/>
              <a:gd name="connsiteX106" fmla="*/ 392297 w 456085"/>
              <a:gd name="connsiteY106" fmla="*/ 377725 h 455929"/>
              <a:gd name="connsiteX107" fmla="*/ 365977 w 456085"/>
              <a:gd name="connsiteY107" fmla="*/ 332639 h 455929"/>
              <a:gd name="connsiteX108" fmla="*/ 271181 w 456085"/>
              <a:gd name="connsiteY108" fmla="*/ 286413 h 455929"/>
              <a:gd name="connsiteX109" fmla="*/ 271181 w 456085"/>
              <a:gd name="connsiteY109" fmla="*/ 253199 h 455929"/>
              <a:gd name="connsiteX110" fmla="*/ 274538 w 456085"/>
              <a:gd name="connsiteY110" fmla="*/ 248704 h 455929"/>
              <a:gd name="connsiteX111" fmla="*/ 304311 w 456085"/>
              <a:gd name="connsiteY111" fmla="*/ 169866 h 455929"/>
              <a:gd name="connsiteX112" fmla="*/ 346467 w 456085"/>
              <a:gd name="connsiteY112" fmla="*/ 128389 h 455929"/>
              <a:gd name="connsiteX113" fmla="*/ 323314 w 456085"/>
              <a:gd name="connsiteY113" fmla="*/ 78806 h 455929"/>
              <a:gd name="connsiteX114" fmla="*/ 227726 w 456085"/>
              <a:gd name="connsiteY114" fmla="*/ 37646 h 455929"/>
              <a:gd name="connsiteX115" fmla="*/ 131536 w 456085"/>
              <a:gd name="connsiteY115" fmla="*/ 78806 h 455929"/>
              <a:gd name="connsiteX116" fmla="*/ 108320 w 456085"/>
              <a:gd name="connsiteY116" fmla="*/ 129212 h 455929"/>
              <a:gd name="connsiteX117" fmla="*/ 150825 w 456085"/>
              <a:gd name="connsiteY117" fmla="*/ 169327 h 455929"/>
              <a:gd name="connsiteX118" fmla="*/ 180661 w 456085"/>
              <a:gd name="connsiteY118" fmla="*/ 248704 h 455929"/>
              <a:gd name="connsiteX119" fmla="*/ 184050 w 456085"/>
              <a:gd name="connsiteY119" fmla="*/ 253199 h 455929"/>
              <a:gd name="connsiteX120" fmla="*/ 184050 w 456085"/>
              <a:gd name="connsiteY120" fmla="*/ 286824 h 455929"/>
              <a:gd name="connsiteX121" fmla="*/ 90995 w 456085"/>
              <a:gd name="connsiteY121" fmla="*/ 332291 h 455929"/>
              <a:gd name="connsiteX122" fmla="*/ 63820 w 456085"/>
              <a:gd name="connsiteY122" fmla="*/ 377345 h 455929"/>
              <a:gd name="connsiteX123" fmla="*/ 63820 w 456085"/>
              <a:gd name="connsiteY123" fmla="*/ 436490 h 455929"/>
              <a:gd name="connsiteX124" fmla="*/ 19479 w 456085"/>
              <a:gd name="connsiteY124" fmla="*/ 436490 h 455929"/>
              <a:gd name="connsiteX125" fmla="*/ 19479 w 456085"/>
              <a:gd name="connsiteY125" fmla="*/ 19472 h 455929"/>
              <a:gd name="connsiteX126" fmla="*/ 436639 w 456085"/>
              <a:gd name="connsiteY126" fmla="*/ 19472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56085" h="455929">
                <a:moveTo>
                  <a:pt x="0" y="0"/>
                </a:moveTo>
                <a:lnTo>
                  <a:pt x="0" y="455930"/>
                </a:lnTo>
                <a:lnTo>
                  <a:pt x="456086" y="455930"/>
                </a:lnTo>
                <a:lnTo>
                  <a:pt x="456086" y="0"/>
                </a:lnTo>
                <a:close/>
                <a:moveTo>
                  <a:pt x="81652" y="436490"/>
                </a:moveTo>
                <a:lnTo>
                  <a:pt x="81652" y="376934"/>
                </a:lnTo>
                <a:cubicBezTo>
                  <a:pt x="80733" y="356037"/>
                  <a:pt x="95525" y="349641"/>
                  <a:pt x="97963" y="348660"/>
                </a:cubicBezTo>
                <a:lnTo>
                  <a:pt x="142305" y="326971"/>
                </a:lnTo>
                <a:lnTo>
                  <a:pt x="160105" y="318264"/>
                </a:lnTo>
                <a:lnTo>
                  <a:pt x="166440" y="315098"/>
                </a:lnTo>
                <a:lnTo>
                  <a:pt x="172996" y="360850"/>
                </a:lnTo>
                <a:lnTo>
                  <a:pt x="186868" y="366897"/>
                </a:lnTo>
                <a:lnTo>
                  <a:pt x="214044" y="348153"/>
                </a:lnTo>
                <a:lnTo>
                  <a:pt x="207392" y="361989"/>
                </a:lnTo>
                <a:lnTo>
                  <a:pt x="220061" y="436490"/>
                </a:lnTo>
                <a:close/>
                <a:moveTo>
                  <a:pt x="193045" y="96062"/>
                </a:moveTo>
                <a:cubicBezTo>
                  <a:pt x="194014" y="99409"/>
                  <a:pt x="195442" y="102607"/>
                  <a:pt x="197289" y="105561"/>
                </a:cubicBezTo>
                <a:cubicBezTo>
                  <a:pt x="189022" y="106855"/>
                  <a:pt x="180860" y="108749"/>
                  <a:pt x="172869" y="111228"/>
                </a:cubicBezTo>
                <a:cubicBezTo>
                  <a:pt x="159462" y="115192"/>
                  <a:pt x="146825" y="121401"/>
                  <a:pt x="135495" y="129592"/>
                </a:cubicBezTo>
                <a:lnTo>
                  <a:pt x="131093" y="125191"/>
                </a:lnTo>
                <a:lnTo>
                  <a:pt x="145726" y="93529"/>
                </a:lnTo>
                <a:lnTo>
                  <a:pt x="193235" y="73234"/>
                </a:lnTo>
                <a:cubicBezTo>
                  <a:pt x="190843" y="80674"/>
                  <a:pt x="190745" y="88659"/>
                  <a:pt x="192950" y="96157"/>
                </a:cubicBezTo>
                <a:close/>
                <a:moveTo>
                  <a:pt x="155608" y="139154"/>
                </a:moveTo>
                <a:cubicBezTo>
                  <a:pt x="163757" y="134604"/>
                  <a:pt x="172410" y="131023"/>
                  <a:pt x="181389" y="128484"/>
                </a:cubicBezTo>
                <a:cubicBezTo>
                  <a:pt x="195715" y="124510"/>
                  <a:pt x="210487" y="122382"/>
                  <a:pt x="225351" y="122151"/>
                </a:cubicBezTo>
                <a:lnTo>
                  <a:pt x="232509" y="122151"/>
                </a:lnTo>
                <a:cubicBezTo>
                  <a:pt x="245995" y="122031"/>
                  <a:pt x="259443" y="123658"/>
                  <a:pt x="272511" y="126996"/>
                </a:cubicBezTo>
                <a:cubicBezTo>
                  <a:pt x="280049" y="128898"/>
                  <a:pt x="287280" y="131862"/>
                  <a:pt x="293985" y="135797"/>
                </a:cubicBezTo>
                <a:cubicBezTo>
                  <a:pt x="296034" y="137055"/>
                  <a:pt x="298005" y="138438"/>
                  <a:pt x="299876" y="139945"/>
                </a:cubicBezTo>
                <a:cubicBezTo>
                  <a:pt x="301444" y="141218"/>
                  <a:pt x="302927" y="142592"/>
                  <a:pt x="304311" y="144061"/>
                </a:cubicBezTo>
                <a:lnTo>
                  <a:pt x="301143" y="147227"/>
                </a:lnTo>
                <a:cubicBezTo>
                  <a:pt x="294394" y="144232"/>
                  <a:pt x="287454" y="141696"/>
                  <a:pt x="280366" y="139629"/>
                </a:cubicBezTo>
                <a:cubicBezTo>
                  <a:pt x="263719" y="134838"/>
                  <a:pt x="246476" y="132429"/>
                  <a:pt x="229151" y="132473"/>
                </a:cubicBezTo>
                <a:lnTo>
                  <a:pt x="227409" y="132473"/>
                </a:lnTo>
                <a:cubicBezTo>
                  <a:pt x="209511" y="132584"/>
                  <a:pt x="191711" y="135098"/>
                  <a:pt x="174484" y="139945"/>
                </a:cubicBezTo>
                <a:cubicBezTo>
                  <a:pt x="167181" y="141994"/>
                  <a:pt x="160020" y="144511"/>
                  <a:pt x="153042" y="147481"/>
                </a:cubicBezTo>
                <a:lnTo>
                  <a:pt x="153042" y="147481"/>
                </a:lnTo>
                <a:lnTo>
                  <a:pt x="149051" y="143491"/>
                </a:lnTo>
                <a:cubicBezTo>
                  <a:pt x="150825" y="141972"/>
                  <a:pt x="153105" y="140578"/>
                  <a:pt x="155608" y="139154"/>
                </a:cubicBezTo>
                <a:close/>
                <a:moveTo>
                  <a:pt x="210465" y="85044"/>
                </a:moveTo>
                <a:cubicBezTo>
                  <a:pt x="210465" y="75070"/>
                  <a:pt x="217464" y="66996"/>
                  <a:pt x="226079" y="66996"/>
                </a:cubicBezTo>
                <a:cubicBezTo>
                  <a:pt x="234694" y="66996"/>
                  <a:pt x="241694" y="75070"/>
                  <a:pt x="241694" y="85044"/>
                </a:cubicBezTo>
                <a:cubicBezTo>
                  <a:pt x="241681" y="86329"/>
                  <a:pt x="241554" y="87611"/>
                  <a:pt x="241314" y="88875"/>
                </a:cubicBezTo>
                <a:cubicBezTo>
                  <a:pt x="240307" y="96170"/>
                  <a:pt x="234602" y="101926"/>
                  <a:pt x="227314" y="102996"/>
                </a:cubicBezTo>
                <a:lnTo>
                  <a:pt x="226079" y="102996"/>
                </a:lnTo>
                <a:lnTo>
                  <a:pt x="225382" y="102996"/>
                </a:lnTo>
                <a:cubicBezTo>
                  <a:pt x="218117" y="102220"/>
                  <a:pt x="212257" y="96708"/>
                  <a:pt x="211035" y="89508"/>
                </a:cubicBezTo>
                <a:cubicBezTo>
                  <a:pt x="210686" y="88045"/>
                  <a:pt x="210493" y="86548"/>
                  <a:pt x="210465" y="85044"/>
                </a:cubicBezTo>
                <a:close/>
                <a:moveTo>
                  <a:pt x="258290" y="71619"/>
                </a:moveTo>
                <a:lnTo>
                  <a:pt x="309188" y="93434"/>
                </a:lnTo>
                <a:lnTo>
                  <a:pt x="323631" y="124431"/>
                </a:lnTo>
                <a:lnTo>
                  <a:pt x="317708" y="130383"/>
                </a:lnTo>
                <a:cubicBezTo>
                  <a:pt x="314142" y="126682"/>
                  <a:pt x="310154" y="123411"/>
                  <a:pt x="305831" y="120632"/>
                </a:cubicBezTo>
                <a:cubicBezTo>
                  <a:pt x="297970" y="115664"/>
                  <a:pt x="289437" y="111845"/>
                  <a:pt x="280493" y="109297"/>
                </a:cubicBezTo>
                <a:cubicBezTo>
                  <a:pt x="272353" y="106928"/>
                  <a:pt x="264023" y="105266"/>
                  <a:pt x="255598" y="104326"/>
                </a:cubicBezTo>
                <a:cubicBezTo>
                  <a:pt x="257321" y="101356"/>
                  <a:pt x="258623" y="98158"/>
                  <a:pt x="259462" y="94827"/>
                </a:cubicBezTo>
                <a:cubicBezTo>
                  <a:pt x="261480" y="87190"/>
                  <a:pt x="261081" y="79117"/>
                  <a:pt x="258322" y="71714"/>
                </a:cubicBezTo>
                <a:close/>
                <a:moveTo>
                  <a:pt x="168688" y="165465"/>
                </a:moveTo>
                <a:cubicBezTo>
                  <a:pt x="168688" y="164103"/>
                  <a:pt x="168688" y="162742"/>
                  <a:pt x="168910" y="161412"/>
                </a:cubicBezTo>
                <a:cubicBezTo>
                  <a:pt x="187800" y="154719"/>
                  <a:pt x="207684" y="151261"/>
                  <a:pt x="227726" y="151185"/>
                </a:cubicBezTo>
                <a:lnTo>
                  <a:pt x="229278" y="151185"/>
                </a:lnTo>
                <a:cubicBezTo>
                  <a:pt x="248741" y="151062"/>
                  <a:pt x="268061" y="154494"/>
                  <a:pt x="286289" y="161317"/>
                </a:cubicBezTo>
                <a:cubicBezTo>
                  <a:pt x="286289" y="162710"/>
                  <a:pt x="286511" y="164103"/>
                  <a:pt x="286511" y="165496"/>
                </a:cubicBezTo>
                <a:cubicBezTo>
                  <a:pt x="286511" y="165718"/>
                  <a:pt x="286511" y="165908"/>
                  <a:pt x="286511" y="166098"/>
                </a:cubicBezTo>
                <a:cubicBezTo>
                  <a:pt x="287198" y="191541"/>
                  <a:pt x="278469" y="216345"/>
                  <a:pt x="261996" y="235754"/>
                </a:cubicBezTo>
                <a:lnTo>
                  <a:pt x="261109" y="236735"/>
                </a:lnTo>
                <a:lnTo>
                  <a:pt x="259842" y="238287"/>
                </a:lnTo>
                <a:cubicBezTo>
                  <a:pt x="259842" y="238508"/>
                  <a:pt x="246761" y="258487"/>
                  <a:pt x="227536" y="260830"/>
                </a:cubicBezTo>
                <a:cubicBezTo>
                  <a:pt x="208311" y="258487"/>
                  <a:pt x="195357" y="238667"/>
                  <a:pt x="195230" y="238318"/>
                </a:cubicBezTo>
                <a:lnTo>
                  <a:pt x="193995" y="236767"/>
                </a:lnTo>
                <a:lnTo>
                  <a:pt x="193076" y="235754"/>
                </a:lnTo>
                <a:cubicBezTo>
                  <a:pt x="176600" y="216345"/>
                  <a:pt x="167862" y="191544"/>
                  <a:pt x="168530" y="166098"/>
                </a:cubicBezTo>
                <a:cubicBezTo>
                  <a:pt x="168657" y="165876"/>
                  <a:pt x="168657" y="165686"/>
                  <a:pt x="168688" y="165465"/>
                </a:cubicBezTo>
                <a:close/>
                <a:moveTo>
                  <a:pt x="227631" y="278941"/>
                </a:moveTo>
                <a:lnTo>
                  <a:pt x="227631" y="278941"/>
                </a:lnTo>
                <a:cubicBezTo>
                  <a:pt x="236829" y="278130"/>
                  <a:pt x="245662" y="274967"/>
                  <a:pt x="253286" y="269759"/>
                </a:cubicBezTo>
                <a:lnTo>
                  <a:pt x="253286" y="291384"/>
                </a:lnTo>
                <a:lnTo>
                  <a:pt x="227631" y="330011"/>
                </a:lnTo>
                <a:lnTo>
                  <a:pt x="201945" y="291384"/>
                </a:lnTo>
                <a:lnTo>
                  <a:pt x="201945" y="269759"/>
                </a:lnTo>
                <a:cubicBezTo>
                  <a:pt x="209581" y="274961"/>
                  <a:pt x="218424" y="278124"/>
                  <a:pt x="227631" y="278941"/>
                </a:cubicBezTo>
                <a:close/>
                <a:moveTo>
                  <a:pt x="266367" y="303922"/>
                </a:moveTo>
                <a:lnTo>
                  <a:pt x="272701" y="307088"/>
                </a:lnTo>
                <a:lnTo>
                  <a:pt x="267412" y="344005"/>
                </a:lnTo>
                <a:lnTo>
                  <a:pt x="248408" y="330866"/>
                </a:lnTo>
                <a:close/>
                <a:moveTo>
                  <a:pt x="207139" y="331341"/>
                </a:moveTo>
                <a:lnTo>
                  <a:pt x="188832" y="344005"/>
                </a:lnTo>
                <a:lnTo>
                  <a:pt x="183448" y="306961"/>
                </a:lnTo>
                <a:lnTo>
                  <a:pt x="189244" y="304143"/>
                </a:lnTo>
                <a:close/>
                <a:moveTo>
                  <a:pt x="228043" y="396564"/>
                </a:moveTo>
                <a:lnTo>
                  <a:pt x="222785" y="365124"/>
                </a:lnTo>
                <a:lnTo>
                  <a:pt x="228043" y="354200"/>
                </a:lnTo>
                <a:lnTo>
                  <a:pt x="233300" y="365124"/>
                </a:lnTo>
                <a:close/>
                <a:moveTo>
                  <a:pt x="374434" y="436268"/>
                </a:moveTo>
                <a:lnTo>
                  <a:pt x="235866" y="436268"/>
                </a:lnTo>
                <a:lnTo>
                  <a:pt x="248535" y="361989"/>
                </a:lnTo>
                <a:lnTo>
                  <a:pt x="241852" y="348153"/>
                </a:lnTo>
                <a:lnTo>
                  <a:pt x="269059" y="366897"/>
                </a:lnTo>
                <a:lnTo>
                  <a:pt x="282900" y="360850"/>
                </a:lnTo>
                <a:lnTo>
                  <a:pt x="289519" y="315225"/>
                </a:lnTo>
                <a:lnTo>
                  <a:pt x="307034" y="323742"/>
                </a:lnTo>
                <a:lnTo>
                  <a:pt x="358914" y="349071"/>
                </a:lnTo>
                <a:cubicBezTo>
                  <a:pt x="358914" y="349071"/>
                  <a:pt x="375321" y="355404"/>
                  <a:pt x="374370" y="377409"/>
                </a:cubicBezTo>
                <a:close/>
                <a:moveTo>
                  <a:pt x="436639" y="436268"/>
                </a:moveTo>
                <a:lnTo>
                  <a:pt x="392297" y="436268"/>
                </a:lnTo>
                <a:lnTo>
                  <a:pt x="392297" y="377725"/>
                </a:lnTo>
                <a:cubicBezTo>
                  <a:pt x="393786" y="343151"/>
                  <a:pt x="366325" y="332702"/>
                  <a:pt x="365977" y="332639"/>
                </a:cubicBezTo>
                <a:lnTo>
                  <a:pt x="271181" y="286413"/>
                </a:lnTo>
                <a:lnTo>
                  <a:pt x="271181" y="253199"/>
                </a:lnTo>
                <a:cubicBezTo>
                  <a:pt x="272701" y="251268"/>
                  <a:pt x="273937" y="249590"/>
                  <a:pt x="274538" y="248704"/>
                </a:cubicBezTo>
                <a:cubicBezTo>
                  <a:pt x="293535" y="226806"/>
                  <a:pt x="304092" y="198849"/>
                  <a:pt x="304311" y="169866"/>
                </a:cubicBezTo>
                <a:cubicBezTo>
                  <a:pt x="304659" y="170056"/>
                  <a:pt x="346467" y="128389"/>
                  <a:pt x="346467" y="128389"/>
                </a:cubicBezTo>
                <a:lnTo>
                  <a:pt x="323314" y="78806"/>
                </a:lnTo>
                <a:lnTo>
                  <a:pt x="227726" y="37646"/>
                </a:lnTo>
                <a:lnTo>
                  <a:pt x="131536" y="78806"/>
                </a:lnTo>
                <a:lnTo>
                  <a:pt x="108320" y="129212"/>
                </a:lnTo>
                <a:cubicBezTo>
                  <a:pt x="108320" y="129212"/>
                  <a:pt x="149875" y="169866"/>
                  <a:pt x="150825" y="169327"/>
                </a:cubicBezTo>
                <a:cubicBezTo>
                  <a:pt x="150949" y="198504"/>
                  <a:pt x="161537" y="226667"/>
                  <a:pt x="180661" y="248704"/>
                </a:cubicBezTo>
                <a:cubicBezTo>
                  <a:pt x="181294" y="249590"/>
                  <a:pt x="182529" y="251268"/>
                  <a:pt x="184050" y="253199"/>
                </a:cubicBezTo>
                <a:lnTo>
                  <a:pt x="184050" y="286824"/>
                </a:lnTo>
                <a:lnTo>
                  <a:pt x="90995" y="332291"/>
                </a:lnTo>
                <a:cubicBezTo>
                  <a:pt x="89824" y="332702"/>
                  <a:pt x="62490" y="343151"/>
                  <a:pt x="63820" y="377345"/>
                </a:cubicBezTo>
                <a:lnTo>
                  <a:pt x="63820" y="436490"/>
                </a:lnTo>
                <a:lnTo>
                  <a:pt x="19479" y="436490"/>
                </a:lnTo>
                <a:lnTo>
                  <a:pt x="19479" y="19472"/>
                </a:lnTo>
                <a:lnTo>
                  <a:pt x="436639" y="19472"/>
                </a:ln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grpSp>
        <p:nvGrpSpPr>
          <p:cNvPr id="24" name="Group 23">
            <a:extLst>
              <a:ext uri="{FF2B5EF4-FFF2-40B4-BE49-F238E27FC236}">
                <a16:creationId xmlns:a16="http://schemas.microsoft.com/office/drawing/2014/main" id="{2BAFBBA1-AFCC-FD5D-B3F0-D6C7C482007F}"/>
              </a:ext>
            </a:extLst>
          </p:cNvPr>
          <p:cNvGrpSpPr/>
          <p:nvPr/>
        </p:nvGrpSpPr>
        <p:grpSpPr>
          <a:xfrm>
            <a:off x="546606" y="5314456"/>
            <a:ext cx="377825" cy="379413"/>
            <a:chOff x="5634008" y="2739160"/>
            <a:chExt cx="457200" cy="457200"/>
          </a:xfrm>
        </p:grpSpPr>
        <p:sp>
          <p:nvSpPr>
            <p:cNvPr id="25" name="Freeform 22">
              <a:extLst>
                <a:ext uri="{FF2B5EF4-FFF2-40B4-BE49-F238E27FC236}">
                  <a16:creationId xmlns:a16="http://schemas.microsoft.com/office/drawing/2014/main" id="{CDEF5CAF-742A-87B7-9B7B-B0E9F0BAA294}"/>
                </a:ext>
              </a:extLst>
            </p:cNvPr>
            <p:cNvSpPr/>
            <p:nvPr/>
          </p:nvSpPr>
          <p:spPr>
            <a:xfrm>
              <a:off x="5634008" y="2739160"/>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06 w 457200"/>
                <a:gd name="connsiteY4" fmla="*/ 19495 h 457200"/>
                <a:gd name="connsiteX5" fmla="*/ 437706 w 457200"/>
                <a:gd name="connsiteY5" fmla="*/ 327025 h 457200"/>
                <a:gd name="connsiteX6" fmla="*/ 396018 w 457200"/>
                <a:gd name="connsiteY6" fmla="*/ 215583 h 457200"/>
                <a:gd name="connsiteX7" fmla="*/ 388779 w 457200"/>
                <a:gd name="connsiteY7" fmla="*/ 215583 h 457200"/>
                <a:gd name="connsiteX8" fmla="*/ 386175 w 457200"/>
                <a:gd name="connsiteY8" fmla="*/ 196056 h 457200"/>
                <a:gd name="connsiteX9" fmla="*/ 361156 w 457200"/>
                <a:gd name="connsiteY9" fmla="*/ 166973 h 457200"/>
                <a:gd name="connsiteX10" fmla="*/ 332804 w 457200"/>
                <a:gd name="connsiteY10" fmla="*/ 157194 h 457200"/>
                <a:gd name="connsiteX11" fmla="*/ 332200 w 457200"/>
                <a:gd name="connsiteY11" fmla="*/ 156972 h 457200"/>
                <a:gd name="connsiteX12" fmla="*/ 311087 w 457200"/>
                <a:gd name="connsiteY12" fmla="*/ 163068 h 457200"/>
                <a:gd name="connsiteX13" fmla="*/ 307404 w 457200"/>
                <a:gd name="connsiteY13" fmla="*/ 164497 h 457200"/>
                <a:gd name="connsiteX14" fmla="*/ 303752 w 457200"/>
                <a:gd name="connsiteY14" fmla="*/ 163068 h 457200"/>
                <a:gd name="connsiteX15" fmla="*/ 282575 w 457200"/>
                <a:gd name="connsiteY15" fmla="*/ 157004 h 457200"/>
                <a:gd name="connsiteX16" fmla="*/ 281972 w 457200"/>
                <a:gd name="connsiteY16" fmla="*/ 157226 h 457200"/>
                <a:gd name="connsiteX17" fmla="*/ 253619 w 457200"/>
                <a:gd name="connsiteY17" fmla="*/ 167005 h 457200"/>
                <a:gd name="connsiteX18" fmla="*/ 234950 w 457200"/>
                <a:gd name="connsiteY18" fmla="*/ 180435 h 457200"/>
                <a:gd name="connsiteX19" fmla="*/ 216281 w 457200"/>
                <a:gd name="connsiteY19" fmla="*/ 167005 h 457200"/>
                <a:gd name="connsiteX20" fmla="*/ 187897 w 457200"/>
                <a:gd name="connsiteY20" fmla="*/ 157226 h 457200"/>
                <a:gd name="connsiteX21" fmla="*/ 187325 w 457200"/>
                <a:gd name="connsiteY21" fmla="*/ 157004 h 457200"/>
                <a:gd name="connsiteX22" fmla="*/ 166243 w 457200"/>
                <a:gd name="connsiteY22" fmla="*/ 163100 h 457200"/>
                <a:gd name="connsiteX23" fmla="*/ 162560 w 457200"/>
                <a:gd name="connsiteY23" fmla="*/ 164529 h 457200"/>
                <a:gd name="connsiteX24" fmla="*/ 158909 w 457200"/>
                <a:gd name="connsiteY24" fmla="*/ 163100 h 457200"/>
                <a:gd name="connsiteX25" fmla="*/ 137795 w 457200"/>
                <a:gd name="connsiteY25" fmla="*/ 157004 h 457200"/>
                <a:gd name="connsiteX26" fmla="*/ 137192 w 457200"/>
                <a:gd name="connsiteY26" fmla="*/ 157226 h 457200"/>
                <a:gd name="connsiteX27" fmla="*/ 108807 w 457200"/>
                <a:gd name="connsiteY27" fmla="*/ 167005 h 457200"/>
                <a:gd name="connsiteX28" fmla="*/ 83820 w 457200"/>
                <a:gd name="connsiteY28" fmla="*/ 196088 h 457200"/>
                <a:gd name="connsiteX29" fmla="*/ 81185 w 457200"/>
                <a:gd name="connsiteY29" fmla="*/ 215614 h 457200"/>
                <a:gd name="connsiteX30" fmla="*/ 63754 w 457200"/>
                <a:gd name="connsiteY30" fmla="*/ 215614 h 457200"/>
                <a:gd name="connsiteX31" fmla="*/ 19495 w 457200"/>
                <a:gd name="connsiteY31" fmla="*/ 333661 h 457200"/>
                <a:gd name="connsiteX32" fmla="*/ 19495 w 457200"/>
                <a:gd name="connsiteY32" fmla="*/ 19495 h 457200"/>
                <a:gd name="connsiteX33" fmla="*/ 100489 w 457200"/>
                <a:gd name="connsiteY33" fmla="*/ 437706 h 457200"/>
                <a:gd name="connsiteX34" fmla="*/ 103061 w 457200"/>
                <a:gd name="connsiteY34" fmla="*/ 372015 h 457200"/>
                <a:gd name="connsiteX35" fmla="*/ 115411 w 457200"/>
                <a:gd name="connsiteY35" fmla="*/ 359029 h 457200"/>
                <a:gd name="connsiteX36" fmla="*/ 143320 w 457200"/>
                <a:gd name="connsiteY36" fmla="*/ 349504 h 457200"/>
                <a:gd name="connsiteX37" fmla="*/ 143891 w 457200"/>
                <a:gd name="connsiteY37" fmla="*/ 349282 h 457200"/>
                <a:gd name="connsiteX38" fmla="*/ 162560 w 457200"/>
                <a:gd name="connsiteY38" fmla="*/ 357791 h 457200"/>
                <a:gd name="connsiteX39" fmla="*/ 181197 w 457200"/>
                <a:gd name="connsiteY39" fmla="*/ 349250 h 457200"/>
                <a:gd name="connsiteX40" fmla="*/ 181801 w 457200"/>
                <a:gd name="connsiteY40" fmla="*/ 349472 h 457200"/>
                <a:gd name="connsiteX41" fmla="*/ 209709 w 457200"/>
                <a:gd name="connsiteY41" fmla="*/ 358997 h 457200"/>
                <a:gd name="connsiteX42" fmla="*/ 222060 w 457200"/>
                <a:gd name="connsiteY42" fmla="*/ 371983 h 457200"/>
                <a:gd name="connsiteX43" fmla="*/ 224631 w 457200"/>
                <a:gd name="connsiteY43" fmla="*/ 437674 h 457200"/>
                <a:gd name="connsiteX44" fmla="*/ 245364 w 457200"/>
                <a:gd name="connsiteY44" fmla="*/ 437706 h 457200"/>
                <a:gd name="connsiteX45" fmla="*/ 247936 w 457200"/>
                <a:gd name="connsiteY45" fmla="*/ 372015 h 457200"/>
                <a:gd name="connsiteX46" fmla="*/ 260287 w 457200"/>
                <a:gd name="connsiteY46" fmla="*/ 359029 h 457200"/>
                <a:gd name="connsiteX47" fmla="*/ 288163 w 457200"/>
                <a:gd name="connsiteY47" fmla="*/ 349504 h 457200"/>
                <a:gd name="connsiteX48" fmla="*/ 288925 w 457200"/>
                <a:gd name="connsiteY48" fmla="*/ 349250 h 457200"/>
                <a:gd name="connsiteX49" fmla="*/ 323772 w 457200"/>
                <a:gd name="connsiteY49" fmla="*/ 351710 h 457200"/>
                <a:gd name="connsiteX50" fmla="*/ 326231 w 457200"/>
                <a:gd name="connsiteY50" fmla="*/ 349250 h 457200"/>
                <a:gd name="connsiteX51" fmla="*/ 326835 w 457200"/>
                <a:gd name="connsiteY51" fmla="*/ 349472 h 457200"/>
                <a:gd name="connsiteX52" fmla="*/ 354711 w 457200"/>
                <a:gd name="connsiteY52" fmla="*/ 358997 h 457200"/>
                <a:gd name="connsiteX53" fmla="*/ 367062 w 457200"/>
                <a:gd name="connsiteY53" fmla="*/ 371983 h 457200"/>
                <a:gd name="connsiteX54" fmla="*/ 369634 w 457200"/>
                <a:gd name="connsiteY54" fmla="*/ 437674 h 457200"/>
                <a:gd name="connsiteX55" fmla="*/ 383032 w 457200"/>
                <a:gd name="connsiteY55" fmla="*/ 359410 h 457200"/>
                <a:gd name="connsiteX56" fmla="*/ 361156 w 457200"/>
                <a:gd name="connsiteY56" fmla="*/ 340773 h 457200"/>
                <a:gd name="connsiteX57" fmla="*/ 332804 w 457200"/>
                <a:gd name="connsiteY57" fmla="*/ 331026 h 457200"/>
                <a:gd name="connsiteX58" fmla="*/ 332200 w 457200"/>
                <a:gd name="connsiteY58" fmla="*/ 330803 h 457200"/>
                <a:gd name="connsiteX59" fmla="*/ 311087 w 457200"/>
                <a:gd name="connsiteY59" fmla="*/ 336868 h 457200"/>
                <a:gd name="connsiteX60" fmla="*/ 307404 w 457200"/>
                <a:gd name="connsiteY60" fmla="*/ 338328 h 457200"/>
                <a:gd name="connsiteX61" fmla="*/ 303752 w 457200"/>
                <a:gd name="connsiteY61" fmla="*/ 336868 h 457200"/>
                <a:gd name="connsiteX62" fmla="*/ 282639 w 457200"/>
                <a:gd name="connsiteY62" fmla="*/ 330803 h 457200"/>
                <a:gd name="connsiteX63" fmla="*/ 282035 w 457200"/>
                <a:gd name="connsiteY63" fmla="*/ 331026 h 457200"/>
                <a:gd name="connsiteX64" fmla="*/ 253683 w 457200"/>
                <a:gd name="connsiteY64" fmla="*/ 340773 h 457200"/>
                <a:gd name="connsiteX65" fmla="*/ 234950 w 457200"/>
                <a:gd name="connsiteY65" fmla="*/ 354235 h 457200"/>
                <a:gd name="connsiteX66" fmla="*/ 216281 w 457200"/>
                <a:gd name="connsiteY66" fmla="*/ 340773 h 457200"/>
                <a:gd name="connsiteX67" fmla="*/ 187897 w 457200"/>
                <a:gd name="connsiteY67" fmla="*/ 331026 h 457200"/>
                <a:gd name="connsiteX68" fmla="*/ 187293 w 457200"/>
                <a:gd name="connsiteY68" fmla="*/ 330803 h 457200"/>
                <a:gd name="connsiteX69" fmla="*/ 166211 w 457200"/>
                <a:gd name="connsiteY69" fmla="*/ 336868 h 457200"/>
                <a:gd name="connsiteX70" fmla="*/ 162528 w 457200"/>
                <a:gd name="connsiteY70" fmla="*/ 338328 h 457200"/>
                <a:gd name="connsiteX71" fmla="*/ 158877 w 457200"/>
                <a:gd name="connsiteY71" fmla="*/ 336868 h 457200"/>
                <a:gd name="connsiteX72" fmla="*/ 137763 w 457200"/>
                <a:gd name="connsiteY72" fmla="*/ 330803 h 457200"/>
                <a:gd name="connsiteX73" fmla="*/ 137160 w 457200"/>
                <a:gd name="connsiteY73" fmla="*/ 331026 h 457200"/>
                <a:gd name="connsiteX74" fmla="*/ 108775 w 457200"/>
                <a:gd name="connsiteY74" fmla="*/ 340773 h 457200"/>
                <a:gd name="connsiteX75" fmla="*/ 86900 w 457200"/>
                <a:gd name="connsiteY75" fmla="*/ 359410 h 457200"/>
                <a:gd name="connsiteX76" fmla="*/ 30607 w 457200"/>
                <a:gd name="connsiteY76" fmla="*/ 359410 h 457200"/>
                <a:gd name="connsiteX77" fmla="*/ 77248 w 457200"/>
                <a:gd name="connsiteY77" fmla="*/ 234950 h 457200"/>
                <a:gd name="connsiteX78" fmla="*/ 382524 w 457200"/>
                <a:gd name="connsiteY78" fmla="*/ 234950 h 457200"/>
                <a:gd name="connsiteX79" fmla="*/ 429038 w 457200"/>
                <a:gd name="connsiteY79" fmla="*/ 359283 h 457200"/>
                <a:gd name="connsiteX80" fmla="*/ 245650 w 457200"/>
                <a:gd name="connsiteY80" fmla="*/ 215614 h 457200"/>
                <a:gd name="connsiteX81" fmla="*/ 247936 w 457200"/>
                <a:gd name="connsiteY81" fmla="*/ 198215 h 457200"/>
                <a:gd name="connsiteX82" fmla="*/ 260287 w 457200"/>
                <a:gd name="connsiteY82" fmla="*/ 185230 h 457200"/>
                <a:gd name="connsiteX83" fmla="*/ 288163 w 457200"/>
                <a:gd name="connsiteY83" fmla="*/ 175705 h 457200"/>
                <a:gd name="connsiteX84" fmla="*/ 288766 w 457200"/>
                <a:gd name="connsiteY84" fmla="*/ 175514 h 457200"/>
                <a:gd name="connsiteX85" fmla="*/ 323613 w 457200"/>
                <a:gd name="connsiteY85" fmla="*/ 177974 h 457200"/>
                <a:gd name="connsiteX86" fmla="*/ 326073 w 457200"/>
                <a:gd name="connsiteY86" fmla="*/ 175514 h 457200"/>
                <a:gd name="connsiteX87" fmla="*/ 326676 w 457200"/>
                <a:gd name="connsiteY87" fmla="*/ 175705 h 457200"/>
                <a:gd name="connsiteX88" fmla="*/ 354552 w 457200"/>
                <a:gd name="connsiteY88" fmla="*/ 185230 h 457200"/>
                <a:gd name="connsiteX89" fmla="*/ 366903 w 457200"/>
                <a:gd name="connsiteY89" fmla="*/ 198215 h 457200"/>
                <a:gd name="connsiteX90" fmla="*/ 369189 w 457200"/>
                <a:gd name="connsiteY90" fmla="*/ 215614 h 457200"/>
                <a:gd name="connsiteX91" fmla="*/ 100775 w 457200"/>
                <a:gd name="connsiteY91" fmla="*/ 215614 h 457200"/>
                <a:gd name="connsiteX92" fmla="*/ 103061 w 457200"/>
                <a:gd name="connsiteY92" fmla="*/ 198215 h 457200"/>
                <a:gd name="connsiteX93" fmla="*/ 115411 w 457200"/>
                <a:gd name="connsiteY93" fmla="*/ 185230 h 457200"/>
                <a:gd name="connsiteX94" fmla="*/ 143320 w 457200"/>
                <a:gd name="connsiteY94" fmla="*/ 175705 h 457200"/>
                <a:gd name="connsiteX95" fmla="*/ 143891 w 457200"/>
                <a:gd name="connsiteY95" fmla="*/ 175514 h 457200"/>
                <a:gd name="connsiteX96" fmla="*/ 162560 w 457200"/>
                <a:gd name="connsiteY96" fmla="*/ 184023 h 457200"/>
                <a:gd name="connsiteX97" fmla="*/ 181197 w 457200"/>
                <a:gd name="connsiteY97" fmla="*/ 175514 h 457200"/>
                <a:gd name="connsiteX98" fmla="*/ 181801 w 457200"/>
                <a:gd name="connsiteY98" fmla="*/ 175705 h 457200"/>
                <a:gd name="connsiteX99" fmla="*/ 209709 w 457200"/>
                <a:gd name="connsiteY99" fmla="*/ 185230 h 457200"/>
                <a:gd name="connsiteX100" fmla="*/ 222060 w 457200"/>
                <a:gd name="connsiteY100" fmla="*/ 198215 h 457200"/>
                <a:gd name="connsiteX101" fmla="*/ 224346 w 457200"/>
                <a:gd name="connsiteY101" fmla="*/ 215614 h 457200"/>
                <a:gd name="connsiteX102" fmla="*/ 19495 w 457200"/>
                <a:gd name="connsiteY102" fmla="*/ 378873 h 457200"/>
                <a:gd name="connsiteX103" fmla="*/ 83280 w 457200"/>
                <a:gd name="connsiteY103" fmla="*/ 378873 h 457200"/>
                <a:gd name="connsiteX104" fmla="*/ 80899 w 457200"/>
                <a:gd name="connsiteY104" fmla="*/ 437706 h 457200"/>
                <a:gd name="connsiteX105" fmla="*/ 19495 w 457200"/>
                <a:gd name="connsiteY105" fmla="*/ 437706 h 457200"/>
                <a:gd name="connsiteX106" fmla="*/ 389065 w 457200"/>
                <a:gd name="connsiteY106" fmla="*/ 437706 h 457200"/>
                <a:gd name="connsiteX107" fmla="*/ 386715 w 457200"/>
                <a:gd name="connsiteY107" fmla="*/ 378873 h 457200"/>
                <a:gd name="connsiteX108" fmla="*/ 437706 w 457200"/>
                <a:gd name="connsiteY108" fmla="*/ 378873 h 457200"/>
                <a:gd name="connsiteX109" fmla="*/ 437706 w 457200"/>
                <a:gd name="connsiteY109" fmla="*/ 43770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7200" h="457200">
                  <a:moveTo>
                    <a:pt x="0" y="0"/>
                  </a:moveTo>
                  <a:lnTo>
                    <a:pt x="0" y="457200"/>
                  </a:lnTo>
                  <a:lnTo>
                    <a:pt x="457200" y="457200"/>
                  </a:lnTo>
                  <a:lnTo>
                    <a:pt x="457200" y="0"/>
                  </a:lnTo>
                  <a:close/>
                  <a:moveTo>
                    <a:pt x="437706" y="19495"/>
                  </a:moveTo>
                  <a:lnTo>
                    <a:pt x="437706" y="327025"/>
                  </a:lnTo>
                  <a:lnTo>
                    <a:pt x="396018" y="215583"/>
                  </a:lnTo>
                  <a:lnTo>
                    <a:pt x="388779" y="215583"/>
                  </a:lnTo>
                  <a:cubicBezTo>
                    <a:pt x="388017" y="210344"/>
                    <a:pt x="386779" y="201549"/>
                    <a:pt x="386175" y="196056"/>
                  </a:cubicBezTo>
                  <a:cubicBezTo>
                    <a:pt x="384747" y="183166"/>
                    <a:pt x="375158" y="172022"/>
                    <a:pt x="361156" y="166973"/>
                  </a:cubicBezTo>
                  <a:cubicBezTo>
                    <a:pt x="351314" y="163417"/>
                    <a:pt x="339154" y="159322"/>
                    <a:pt x="332804" y="157194"/>
                  </a:cubicBezTo>
                  <a:lnTo>
                    <a:pt x="332200" y="156972"/>
                  </a:lnTo>
                  <a:cubicBezTo>
                    <a:pt x="320897" y="152972"/>
                    <a:pt x="314484" y="158083"/>
                    <a:pt x="311087" y="163068"/>
                  </a:cubicBezTo>
                  <a:cubicBezTo>
                    <a:pt x="310388" y="164084"/>
                    <a:pt x="309848" y="164497"/>
                    <a:pt x="307404" y="164497"/>
                  </a:cubicBezTo>
                  <a:cubicBezTo>
                    <a:pt x="304959" y="164497"/>
                    <a:pt x="304451" y="164084"/>
                    <a:pt x="303752" y="163068"/>
                  </a:cubicBezTo>
                  <a:cubicBezTo>
                    <a:pt x="300355" y="158115"/>
                    <a:pt x="293942" y="153003"/>
                    <a:pt x="282575" y="157004"/>
                  </a:cubicBezTo>
                  <a:lnTo>
                    <a:pt x="281972" y="157226"/>
                  </a:lnTo>
                  <a:cubicBezTo>
                    <a:pt x="275622" y="159353"/>
                    <a:pt x="263430" y="163576"/>
                    <a:pt x="253619" y="167005"/>
                  </a:cubicBezTo>
                  <a:cubicBezTo>
                    <a:pt x="246223" y="169573"/>
                    <a:pt x="239736" y="174240"/>
                    <a:pt x="234950" y="180435"/>
                  </a:cubicBezTo>
                  <a:cubicBezTo>
                    <a:pt x="230161" y="174242"/>
                    <a:pt x="223675" y="169576"/>
                    <a:pt x="216281" y="167005"/>
                  </a:cubicBezTo>
                  <a:cubicBezTo>
                    <a:pt x="206438" y="163449"/>
                    <a:pt x="194278" y="159353"/>
                    <a:pt x="187897" y="157226"/>
                  </a:cubicBezTo>
                  <a:lnTo>
                    <a:pt x="187325" y="157004"/>
                  </a:lnTo>
                  <a:cubicBezTo>
                    <a:pt x="176054" y="153003"/>
                    <a:pt x="169609" y="158115"/>
                    <a:pt x="166243" y="163100"/>
                  </a:cubicBezTo>
                  <a:cubicBezTo>
                    <a:pt x="165545" y="164116"/>
                    <a:pt x="165005" y="164529"/>
                    <a:pt x="162560" y="164529"/>
                  </a:cubicBezTo>
                  <a:cubicBezTo>
                    <a:pt x="160115" y="164529"/>
                    <a:pt x="159607" y="164116"/>
                    <a:pt x="158909" y="163100"/>
                  </a:cubicBezTo>
                  <a:cubicBezTo>
                    <a:pt x="155575" y="158115"/>
                    <a:pt x="149225" y="153003"/>
                    <a:pt x="137795" y="157004"/>
                  </a:cubicBezTo>
                  <a:lnTo>
                    <a:pt x="137192" y="157226"/>
                  </a:lnTo>
                  <a:cubicBezTo>
                    <a:pt x="130842" y="159353"/>
                    <a:pt x="118650" y="163576"/>
                    <a:pt x="108807" y="167005"/>
                  </a:cubicBezTo>
                  <a:cubicBezTo>
                    <a:pt x="94837" y="172053"/>
                    <a:pt x="85249" y="183198"/>
                    <a:pt x="83820" y="196088"/>
                  </a:cubicBezTo>
                  <a:cubicBezTo>
                    <a:pt x="83185" y="201581"/>
                    <a:pt x="81947" y="210376"/>
                    <a:pt x="81185" y="215614"/>
                  </a:cubicBezTo>
                  <a:lnTo>
                    <a:pt x="63754" y="215614"/>
                  </a:lnTo>
                  <a:lnTo>
                    <a:pt x="19495" y="333661"/>
                  </a:lnTo>
                  <a:lnTo>
                    <a:pt x="19495" y="19495"/>
                  </a:lnTo>
                  <a:close/>
                  <a:moveTo>
                    <a:pt x="100489" y="437706"/>
                  </a:moveTo>
                  <a:cubicBezTo>
                    <a:pt x="101283" y="424625"/>
                    <a:pt x="102457" y="377571"/>
                    <a:pt x="103061" y="372015"/>
                  </a:cubicBezTo>
                  <a:cubicBezTo>
                    <a:pt x="103537" y="367919"/>
                    <a:pt x="107029" y="362045"/>
                    <a:pt x="115411" y="359029"/>
                  </a:cubicBezTo>
                  <a:cubicBezTo>
                    <a:pt x="124936" y="355537"/>
                    <a:pt x="137033" y="351504"/>
                    <a:pt x="143320" y="349504"/>
                  </a:cubicBezTo>
                  <a:lnTo>
                    <a:pt x="143891" y="349282"/>
                  </a:lnTo>
                  <a:cubicBezTo>
                    <a:pt x="148385" y="354954"/>
                    <a:pt x="155331" y="358120"/>
                    <a:pt x="162560" y="357791"/>
                  </a:cubicBezTo>
                  <a:cubicBezTo>
                    <a:pt x="169785" y="358107"/>
                    <a:pt x="176720" y="354929"/>
                    <a:pt x="181197" y="349250"/>
                  </a:cubicBezTo>
                  <a:lnTo>
                    <a:pt x="181801" y="349472"/>
                  </a:lnTo>
                  <a:cubicBezTo>
                    <a:pt x="188151" y="351568"/>
                    <a:pt x="200089" y="355600"/>
                    <a:pt x="209709" y="358997"/>
                  </a:cubicBezTo>
                  <a:cubicBezTo>
                    <a:pt x="218091" y="362172"/>
                    <a:pt x="221583" y="367887"/>
                    <a:pt x="222060" y="371983"/>
                  </a:cubicBezTo>
                  <a:cubicBezTo>
                    <a:pt x="222663" y="377539"/>
                    <a:pt x="223838" y="424466"/>
                    <a:pt x="224631" y="437674"/>
                  </a:cubicBezTo>
                  <a:close/>
                  <a:moveTo>
                    <a:pt x="245364" y="437706"/>
                  </a:moveTo>
                  <a:cubicBezTo>
                    <a:pt x="246126" y="424625"/>
                    <a:pt x="247301" y="377571"/>
                    <a:pt x="247936" y="372015"/>
                  </a:cubicBezTo>
                  <a:cubicBezTo>
                    <a:pt x="248380" y="367919"/>
                    <a:pt x="251904" y="362045"/>
                    <a:pt x="260287" y="359029"/>
                  </a:cubicBezTo>
                  <a:cubicBezTo>
                    <a:pt x="269812" y="355537"/>
                    <a:pt x="281877" y="351504"/>
                    <a:pt x="288163" y="349504"/>
                  </a:cubicBezTo>
                  <a:lnTo>
                    <a:pt x="288925" y="349250"/>
                  </a:lnTo>
                  <a:cubicBezTo>
                    <a:pt x="297868" y="359552"/>
                    <a:pt x="313470" y="360653"/>
                    <a:pt x="323772" y="351710"/>
                  </a:cubicBezTo>
                  <a:cubicBezTo>
                    <a:pt x="324648" y="350949"/>
                    <a:pt x="325470" y="350127"/>
                    <a:pt x="326231" y="349250"/>
                  </a:cubicBezTo>
                  <a:lnTo>
                    <a:pt x="326835" y="349472"/>
                  </a:lnTo>
                  <a:cubicBezTo>
                    <a:pt x="333185" y="351568"/>
                    <a:pt x="345091" y="355600"/>
                    <a:pt x="354711" y="358997"/>
                  </a:cubicBezTo>
                  <a:cubicBezTo>
                    <a:pt x="363093" y="362172"/>
                    <a:pt x="366617" y="367887"/>
                    <a:pt x="367062" y="371983"/>
                  </a:cubicBezTo>
                  <a:cubicBezTo>
                    <a:pt x="367665" y="377539"/>
                    <a:pt x="368872" y="424466"/>
                    <a:pt x="369634" y="437674"/>
                  </a:cubicBezTo>
                  <a:close/>
                  <a:moveTo>
                    <a:pt x="383032" y="359410"/>
                  </a:moveTo>
                  <a:cubicBezTo>
                    <a:pt x="378389" y="350631"/>
                    <a:pt x="370562" y="343962"/>
                    <a:pt x="361156" y="340773"/>
                  </a:cubicBezTo>
                  <a:cubicBezTo>
                    <a:pt x="351314" y="337217"/>
                    <a:pt x="339154" y="333153"/>
                    <a:pt x="332804" y="331026"/>
                  </a:cubicBezTo>
                  <a:lnTo>
                    <a:pt x="332200" y="330803"/>
                  </a:lnTo>
                  <a:cubicBezTo>
                    <a:pt x="320897" y="326803"/>
                    <a:pt x="314484" y="331883"/>
                    <a:pt x="311087" y="336868"/>
                  </a:cubicBezTo>
                  <a:cubicBezTo>
                    <a:pt x="310388" y="337915"/>
                    <a:pt x="309848" y="338328"/>
                    <a:pt x="307404" y="338328"/>
                  </a:cubicBezTo>
                  <a:cubicBezTo>
                    <a:pt x="304959" y="338328"/>
                    <a:pt x="304451" y="337915"/>
                    <a:pt x="303752" y="336868"/>
                  </a:cubicBezTo>
                  <a:cubicBezTo>
                    <a:pt x="300355" y="331883"/>
                    <a:pt x="293942" y="326803"/>
                    <a:pt x="282639" y="330803"/>
                  </a:cubicBezTo>
                  <a:lnTo>
                    <a:pt x="282035" y="331026"/>
                  </a:lnTo>
                  <a:cubicBezTo>
                    <a:pt x="275685" y="333153"/>
                    <a:pt x="263493" y="337217"/>
                    <a:pt x="253683" y="340773"/>
                  </a:cubicBezTo>
                  <a:cubicBezTo>
                    <a:pt x="246267" y="343352"/>
                    <a:pt x="239759" y="348028"/>
                    <a:pt x="234950" y="354235"/>
                  </a:cubicBezTo>
                  <a:cubicBezTo>
                    <a:pt x="230156" y="348041"/>
                    <a:pt x="223672" y="343366"/>
                    <a:pt x="216281" y="340773"/>
                  </a:cubicBezTo>
                  <a:cubicBezTo>
                    <a:pt x="206438" y="337217"/>
                    <a:pt x="194278" y="333153"/>
                    <a:pt x="187897" y="331026"/>
                  </a:cubicBezTo>
                  <a:lnTo>
                    <a:pt x="187293" y="330803"/>
                  </a:lnTo>
                  <a:cubicBezTo>
                    <a:pt x="176022" y="326803"/>
                    <a:pt x="169577" y="331883"/>
                    <a:pt x="166211" y="336868"/>
                  </a:cubicBezTo>
                  <a:cubicBezTo>
                    <a:pt x="165513" y="337915"/>
                    <a:pt x="164973" y="338328"/>
                    <a:pt x="162528" y="338328"/>
                  </a:cubicBezTo>
                  <a:cubicBezTo>
                    <a:pt x="160084" y="338328"/>
                    <a:pt x="159576" y="337915"/>
                    <a:pt x="158877" y="336868"/>
                  </a:cubicBezTo>
                  <a:cubicBezTo>
                    <a:pt x="155480" y="331883"/>
                    <a:pt x="149035" y="326803"/>
                    <a:pt x="137763" y="330803"/>
                  </a:cubicBezTo>
                  <a:lnTo>
                    <a:pt x="137160" y="331026"/>
                  </a:lnTo>
                  <a:cubicBezTo>
                    <a:pt x="130810" y="333153"/>
                    <a:pt x="118618" y="337217"/>
                    <a:pt x="108775" y="340773"/>
                  </a:cubicBezTo>
                  <a:cubicBezTo>
                    <a:pt x="99375" y="343970"/>
                    <a:pt x="91550" y="350637"/>
                    <a:pt x="86900" y="359410"/>
                  </a:cubicBezTo>
                  <a:lnTo>
                    <a:pt x="30607" y="359410"/>
                  </a:lnTo>
                  <a:lnTo>
                    <a:pt x="77248" y="234950"/>
                  </a:lnTo>
                  <a:lnTo>
                    <a:pt x="382524" y="234950"/>
                  </a:lnTo>
                  <a:lnTo>
                    <a:pt x="429038" y="359283"/>
                  </a:lnTo>
                  <a:close/>
                  <a:moveTo>
                    <a:pt x="245650" y="215614"/>
                  </a:moveTo>
                  <a:cubicBezTo>
                    <a:pt x="246412" y="210280"/>
                    <a:pt x="247396" y="203137"/>
                    <a:pt x="247936" y="198215"/>
                  </a:cubicBezTo>
                  <a:cubicBezTo>
                    <a:pt x="248380" y="194120"/>
                    <a:pt x="251904" y="188246"/>
                    <a:pt x="260287" y="185230"/>
                  </a:cubicBezTo>
                  <a:cubicBezTo>
                    <a:pt x="269812" y="181737"/>
                    <a:pt x="281877" y="177705"/>
                    <a:pt x="288163" y="175705"/>
                  </a:cubicBezTo>
                  <a:lnTo>
                    <a:pt x="288766" y="175514"/>
                  </a:lnTo>
                  <a:cubicBezTo>
                    <a:pt x="297710" y="185816"/>
                    <a:pt x="313311" y="186917"/>
                    <a:pt x="323613" y="177974"/>
                  </a:cubicBezTo>
                  <a:cubicBezTo>
                    <a:pt x="324489" y="177213"/>
                    <a:pt x="325311" y="176391"/>
                    <a:pt x="326073" y="175514"/>
                  </a:cubicBezTo>
                  <a:lnTo>
                    <a:pt x="326676" y="175705"/>
                  </a:lnTo>
                  <a:cubicBezTo>
                    <a:pt x="333026" y="177800"/>
                    <a:pt x="344932" y="181832"/>
                    <a:pt x="354552" y="185230"/>
                  </a:cubicBezTo>
                  <a:cubicBezTo>
                    <a:pt x="362934" y="188246"/>
                    <a:pt x="366459" y="194120"/>
                    <a:pt x="366903" y="198215"/>
                  </a:cubicBezTo>
                  <a:cubicBezTo>
                    <a:pt x="367443" y="203137"/>
                    <a:pt x="368427" y="210280"/>
                    <a:pt x="369189" y="215614"/>
                  </a:cubicBezTo>
                  <a:close/>
                  <a:moveTo>
                    <a:pt x="100775" y="215614"/>
                  </a:moveTo>
                  <a:cubicBezTo>
                    <a:pt x="101537" y="210280"/>
                    <a:pt x="102521" y="203137"/>
                    <a:pt x="103061" y="198215"/>
                  </a:cubicBezTo>
                  <a:cubicBezTo>
                    <a:pt x="103537" y="194120"/>
                    <a:pt x="107029" y="188246"/>
                    <a:pt x="115411" y="185230"/>
                  </a:cubicBezTo>
                  <a:cubicBezTo>
                    <a:pt x="124936" y="181737"/>
                    <a:pt x="137033" y="177705"/>
                    <a:pt x="143320" y="175705"/>
                  </a:cubicBezTo>
                  <a:lnTo>
                    <a:pt x="143891" y="175514"/>
                  </a:lnTo>
                  <a:cubicBezTo>
                    <a:pt x="148394" y="181174"/>
                    <a:pt x="155334" y="184337"/>
                    <a:pt x="162560" y="184023"/>
                  </a:cubicBezTo>
                  <a:cubicBezTo>
                    <a:pt x="169776" y="184331"/>
                    <a:pt x="176704" y="181168"/>
                    <a:pt x="181197" y="175514"/>
                  </a:cubicBezTo>
                  <a:lnTo>
                    <a:pt x="181801" y="175705"/>
                  </a:lnTo>
                  <a:cubicBezTo>
                    <a:pt x="188151" y="177800"/>
                    <a:pt x="200089" y="181832"/>
                    <a:pt x="209709" y="185230"/>
                  </a:cubicBezTo>
                  <a:cubicBezTo>
                    <a:pt x="218091" y="188246"/>
                    <a:pt x="221583" y="194120"/>
                    <a:pt x="222060" y="198215"/>
                  </a:cubicBezTo>
                  <a:cubicBezTo>
                    <a:pt x="222599" y="203137"/>
                    <a:pt x="223584" y="210280"/>
                    <a:pt x="224346" y="215614"/>
                  </a:cubicBezTo>
                  <a:close/>
                  <a:moveTo>
                    <a:pt x="19495" y="378873"/>
                  </a:moveTo>
                  <a:lnTo>
                    <a:pt x="83280" y="378873"/>
                  </a:lnTo>
                  <a:cubicBezTo>
                    <a:pt x="82487" y="395288"/>
                    <a:pt x="81407" y="427736"/>
                    <a:pt x="80899" y="437706"/>
                  </a:cubicBezTo>
                  <a:lnTo>
                    <a:pt x="19495" y="437706"/>
                  </a:lnTo>
                  <a:close/>
                  <a:moveTo>
                    <a:pt x="389065" y="437706"/>
                  </a:moveTo>
                  <a:cubicBezTo>
                    <a:pt x="388525" y="427863"/>
                    <a:pt x="387477" y="395319"/>
                    <a:pt x="386715" y="378873"/>
                  </a:cubicBezTo>
                  <a:lnTo>
                    <a:pt x="437706" y="378873"/>
                  </a:lnTo>
                  <a:lnTo>
                    <a:pt x="437706" y="437706"/>
                  </a:ln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6" name="Freeform 23">
              <a:extLst>
                <a:ext uri="{FF2B5EF4-FFF2-40B4-BE49-F238E27FC236}">
                  <a16:creationId xmlns:a16="http://schemas.microsoft.com/office/drawing/2014/main" id="{4A41822F-BDB1-9E6E-9FCB-64C5864E2B67}"/>
                </a:ext>
              </a:extLst>
            </p:cNvPr>
            <p:cNvSpPr/>
            <p:nvPr/>
          </p:nvSpPr>
          <p:spPr>
            <a:xfrm>
              <a:off x="5763125" y="2807962"/>
              <a:ext cx="67100" cy="86994"/>
            </a:xfrm>
            <a:custGeom>
              <a:avLst/>
              <a:gdLst>
                <a:gd name="connsiteX0" fmla="*/ 33443 w 67100"/>
                <a:gd name="connsiteY0" fmla="*/ 86995 h 86994"/>
                <a:gd name="connsiteX1" fmla="*/ 33792 w 67100"/>
                <a:gd name="connsiteY1" fmla="*/ 86995 h 86994"/>
                <a:gd name="connsiteX2" fmla="*/ 66844 w 67100"/>
                <a:gd name="connsiteY2" fmla="*/ 40989 h 86994"/>
                <a:gd name="connsiteX3" fmla="*/ 57319 w 67100"/>
                <a:gd name="connsiteY3" fmla="*/ 11017 h 86994"/>
                <a:gd name="connsiteX4" fmla="*/ 33665 w 67100"/>
                <a:gd name="connsiteY4" fmla="*/ 0 h 86994"/>
                <a:gd name="connsiteX5" fmla="*/ 33443 w 67100"/>
                <a:gd name="connsiteY5" fmla="*/ 0 h 86994"/>
                <a:gd name="connsiteX6" fmla="*/ 9789 w 67100"/>
                <a:gd name="connsiteY6" fmla="*/ 11017 h 86994"/>
                <a:gd name="connsiteX7" fmla="*/ 264 w 67100"/>
                <a:gd name="connsiteY7" fmla="*/ 40989 h 86994"/>
                <a:gd name="connsiteX8" fmla="*/ 33443 w 67100"/>
                <a:gd name="connsiteY8" fmla="*/ 86995 h 86994"/>
                <a:gd name="connsiteX9" fmla="*/ 23918 w 67100"/>
                <a:gd name="connsiteY9" fmla="*/ 24194 h 86994"/>
                <a:gd name="connsiteX10" fmla="*/ 33443 w 67100"/>
                <a:gd name="connsiteY10" fmla="*/ 19399 h 86994"/>
                <a:gd name="connsiteX11" fmla="*/ 33792 w 67100"/>
                <a:gd name="connsiteY11" fmla="*/ 19399 h 86994"/>
                <a:gd name="connsiteX12" fmla="*/ 43317 w 67100"/>
                <a:gd name="connsiteY12" fmla="*/ 24194 h 86994"/>
                <a:gd name="connsiteX13" fmla="*/ 47603 w 67100"/>
                <a:gd name="connsiteY13" fmla="*/ 39561 h 86994"/>
                <a:gd name="connsiteX14" fmla="*/ 33855 w 67100"/>
                <a:gd name="connsiteY14" fmla="*/ 67628 h 86994"/>
                <a:gd name="connsiteX15" fmla="*/ 33443 w 67100"/>
                <a:gd name="connsiteY15" fmla="*/ 67628 h 86994"/>
                <a:gd name="connsiteX16" fmla="*/ 19695 w 67100"/>
                <a:gd name="connsiteY16" fmla="*/ 39561 h 86994"/>
                <a:gd name="connsiteX17" fmla="*/ 23981 w 67100"/>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00" h="86994">
                  <a:moveTo>
                    <a:pt x="33443" y="86995"/>
                  </a:moveTo>
                  <a:lnTo>
                    <a:pt x="33792" y="86995"/>
                  </a:lnTo>
                  <a:cubicBezTo>
                    <a:pt x="48587" y="86995"/>
                    <a:pt x="64526" y="72771"/>
                    <a:pt x="66844" y="40989"/>
                  </a:cubicBezTo>
                  <a:cubicBezTo>
                    <a:pt x="68112" y="30095"/>
                    <a:pt x="64643" y="19181"/>
                    <a:pt x="57319" y="11017"/>
                  </a:cubicBezTo>
                  <a:cubicBezTo>
                    <a:pt x="51205" y="4357"/>
                    <a:pt x="42698" y="395"/>
                    <a:pt x="33665" y="0"/>
                  </a:cubicBezTo>
                  <a:lnTo>
                    <a:pt x="33443" y="0"/>
                  </a:lnTo>
                  <a:cubicBezTo>
                    <a:pt x="24410" y="395"/>
                    <a:pt x="15903" y="4357"/>
                    <a:pt x="9789" y="11017"/>
                  </a:cubicBezTo>
                  <a:cubicBezTo>
                    <a:pt x="2446" y="19170"/>
                    <a:pt x="-1025" y="30093"/>
                    <a:pt x="264" y="40989"/>
                  </a:cubicBezTo>
                  <a:cubicBezTo>
                    <a:pt x="2677" y="72771"/>
                    <a:pt x="18647" y="86995"/>
                    <a:pt x="33443" y="86995"/>
                  </a:cubicBezTo>
                  <a:close/>
                  <a:moveTo>
                    <a:pt x="23918" y="24194"/>
                  </a:moveTo>
                  <a:cubicBezTo>
                    <a:pt x="26417" y="21507"/>
                    <a:pt x="29796" y="19806"/>
                    <a:pt x="33443" y="19399"/>
                  </a:cubicBezTo>
                  <a:lnTo>
                    <a:pt x="33792" y="19399"/>
                  </a:lnTo>
                  <a:cubicBezTo>
                    <a:pt x="37437" y="19812"/>
                    <a:pt x="40814" y="21512"/>
                    <a:pt x="43317" y="24194"/>
                  </a:cubicBezTo>
                  <a:cubicBezTo>
                    <a:pt x="46843" y="28485"/>
                    <a:pt x="48399" y="34063"/>
                    <a:pt x="47603" y="39561"/>
                  </a:cubicBezTo>
                  <a:cubicBezTo>
                    <a:pt x="46174" y="58928"/>
                    <a:pt x="38713" y="67628"/>
                    <a:pt x="33855" y="67628"/>
                  </a:cubicBezTo>
                  <a:lnTo>
                    <a:pt x="33443" y="67628"/>
                  </a:lnTo>
                  <a:cubicBezTo>
                    <a:pt x="28585" y="67628"/>
                    <a:pt x="21092" y="58928"/>
                    <a:pt x="19695" y="39561"/>
                  </a:cubicBezTo>
                  <a:cubicBezTo>
                    <a:pt x="18887" y="34063"/>
                    <a:pt x="20444" y="28480"/>
                    <a:pt x="23981"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Freeform 24">
              <a:extLst>
                <a:ext uri="{FF2B5EF4-FFF2-40B4-BE49-F238E27FC236}">
                  <a16:creationId xmlns:a16="http://schemas.microsoft.com/office/drawing/2014/main" id="{F528F9B5-AD9E-2EF5-3F9F-BDCBE01D52BA}"/>
                </a:ext>
              </a:extLst>
            </p:cNvPr>
            <p:cNvSpPr/>
            <p:nvPr/>
          </p:nvSpPr>
          <p:spPr>
            <a:xfrm>
              <a:off x="5907886" y="2807962"/>
              <a:ext cx="67221" cy="86994"/>
            </a:xfrm>
            <a:custGeom>
              <a:avLst/>
              <a:gdLst>
                <a:gd name="connsiteX0" fmla="*/ 33525 w 67221"/>
                <a:gd name="connsiteY0" fmla="*/ 86995 h 86994"/>
                <a:gd name="connsiteX1" fmla="*/ 33874 w 67221"/>
                <a:gd name="connsiteY1" fmla="*/ 86995 h 86994"/>
                <a:gd name="connsiteX2" fmla="*/ 66958 w 67221"/>
                <a:gd name="connsiteY2" fmla="*/ 40989 h 86994"/>
                <a:gd name="connsiteX3" fmla="*/ 57433 w 67221"/>
                <a:gd name="connsiteY3" fmla="*/ 11017 h 86994"/>
                <a:gd name="connsiteX4" fmla="*/ 33779 w 67221"/>
                <a:gd name="connsiteY4" fmla="*/ 0 h 86994"/>
                <a:gd name="connsiteX5" fmla="*/ 33430 w 67221"/>
                <a:gd name="connsiteY5" fmla="*/ 0 h 86994"/>
                <a:gd name="connsiteX6" fmla="*/ 9776 w 67221"/>
                <a:gd name="connsiteY6" fmla="*/ 11017 h 86994"/>
                <a:gd name="connsiteX7" fmla="*/ 251 w 67221"/>
                <a:gd name="connsiteY7" fmla="*/ 40989 h 86994"/>
                <a:gd name="connsiteX8" fmla="*/ 33525 w 67221"/>
                <a:gd name="connsiteY8" fmla="*/ 86995 h 86994"/>
                <a:gd name="connsiteX9" fmla="*/ 24000 w 67221"/>
                <a:gd name="connsiteY9" fmla="*/ 24194 h 86994"/>
                <a:gd name="connsiteX10" fmla="*/ 33525 w 67221"/>
                <a:gd name="connsiteY10" fmla="*/ 19399 h 86994"/>
                <a:gd name="connsiteX11" fmla="*/ 33874 w 67221"/>
                <a:gd name="connsiteY11" fmla="*/ 19399 h 86994"/>
                <a:gd name="connsiteX12" fmla="*/ 43399 w 67221"/>
                <a:gd name="connsiteY12" fmla="*/ 24194 h 86994"/>
                <a:gd name="connsiteX13" fmla="*/ 47685 w 67221"/>
                <a:gd name="connsiteY13" fmla="*/ 39561 h 86994"/>
                <a:gd name="connsiteX14" fmla="*/ 33938 w 67221"/>
                <a:gd name="connsiteY14" fmla="*/ 67628 h 86994"/>
                <a:gd name="connsiteX15" fmla="*/ 33588 w 67221"/>
                <a:gd name="connsiteY15" fmla="*/ 67628 h 86994"/>
                <a:gd name="connsiteX16" fmla="*/ 19841 w 67221"/>
                <a:gd name="connsiteY16" fmla="*/ 39561 h 86994"/>
                <a:gd name="connsiteX17" fmla="*/ 24063 w 67221"/>
                <a:gd name="connsiteY17" fmla="*/ 24194 h 8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21" h="86994">
                  <a:moveTo>
                    <a:pt x="33525" y="86995"/>
                  </a:moveTo>
                  <a:lnTo>
                    <a:pt x="33874" y="86995"/>
                  </a:lnTo>
                  <a:cubicBezTo>
                    <a:pt x="48670" y="86995"/>
                    <a:pt x="64640" y="72771"/>
                    <a:pt x="66958" y="40989"/>
                  </a:cubicBezTo>
                  <a:cubicBezTo>
                    <a:pt x="68246" y="30093"/>
                    <a:pt x="64775" y="19170"/>
                    <a:pt x="57433" y="11017"/>
                  </a:cubicBezTo>
                  <a:cubicBezTo>
                    <a:pt x="51319" y="4357"/>
                    <a:pt x="42812" y="395"/>
                    <a:pt x="33779" y="0"/>
                  </a:cubicBezTo>
                  <a:lnTo>
                    <a:pt x="33430" y="0"/>
                  </a:lnTo>
                  <a:cubicBezTo>
                    <a:pt x="24397" y="395"/>
                    <a:pt x="15890" y="4357"/>
                    <a:pt x="9776" y="11017"/>
                  </a:cubicBezTo>
                  <a:cubicBezTo>
                    <a:pt x="2466" y="19189"/>
                    <a:pt x="-1000" y="30097"/>
                    <a:pt x="251" y="40989"/>
                  </a:cubicBezTo>
                  <a:cubicBezTo>
                    <a:pt x="2759" y="72771"/>
                    <a:pt x="18729" y="86995"/>
                    <a:pt x="33525" y="86995"/>
                  </a:cubicBezTo>
                  <a:close/>
                  <a:moveTo>
                    <a:pt x="24000" y="24194"/>
                  </a:moveTo>
                  <a:cubicBezTo>
                    <a:pt x="26503" y="21512"/>
                    <a:pt x="29880" y="19812"/>
                    <a:pt x="33525" y="19399"/>
                  </a:cubicBezTo>
                  <a:lnTo>
                    <a:pt x="33874" y="19399"/>
                  </a:lnTo>
                  <a:cubicBezTo>
                    <a:pt x="37519" y="19812"/>
                    <a:pt x="40897" y="21512"/>
                    <a:pt x="43399" y="24194"/>
                  </a:cubicBezTo>
                  <a:cubicBezTo>
                    <a:pt x="46936" y="28480"/>
                    <a:pt x="48493" y="34063"/>
                    <a:pt x="47685" y="39561"/>
                  </a:cubicBezTo>
                  <a:cubicBezTo>
                    <a:pt x="46288" y="58928"/>
                    <a:pt x="38795" y="67628"/>
                    <a:pt x="33938" y="67628"/>
                  </a:cubicBezTo>
                  <a:lnTo>
                    <a:pt x="33588" y="67628"/>
                  </a:lnTo>
                  <a:cubicBezTo>
                    <a:pt x="28731" y="67628"/>
                    <a:pt x="21269" y="58928"/>
                    <a:pt x="19841" y="39561"/>
                  </a:cubicBezTo>
                  <a:cubicBezTo>
                    <a:pt x="19027" y="34072"/>
                    <a:pt x="20560" y="28495"/>
                    <a:pt x="24063" y="24194"/>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8" name="Freeform 25">
              <a:extLst>
                <a:ext uri="{FF2B5EF4-FFF2-40B4-BE49-F238E27FC236}">
                  <a16:creationId xmlns:a16="http://schemas.microsoft.com/office/drawing/2014/main" id="{5E9E8757-CF81-92B6-9485-6148D6B3F544}"/>
                </a:ext>
              </a:extLst>
            </p:cNvPr>
            <p:cNvSpPr/>
            <p:nvPr/>
          </p:nvSpPr>
          <p:spPr>
            <a:xfrm>
              <a:off x="5763125" y="2981761"/>
              <a:ext cx="67002" cy="86995"/>
            </a:xfrm>
            <a:custGeom>
              <a:avLst/>
              <a:gdLst>
                <a:gd name="connsiteX0" fmla="*/ 33792 w 67002"/>
                <a:gd name="connsiteY0" fmla="*/ 0 h 86995"/>
                <a:gd name="connsiteX1" fmla="*/ 33443 w 67002"/>
                <a:gd name="connsiteY1" fmla="*/ 0 h 86995"/>
                <a:gd name="connsiteX2" fmla="*/ 9789 w 67002"/>
                <a:gd name="connsiteY2" fmla="*/ 10986 h 86995"/>
                <a:gd name="connsiteX3" fmla="*/ 264 w 67002"/>
                <a:gd name="connsiteY3" fmla="*/ 40958 h 86995"/>
                <a:gd name="connsiteX4" fmla="*/ 33347 w 67002"/>
                <a:gd name="connsiteY4" fmla="*/ 86995 h 86995"/>
                <a:gd name="connsiteX5" fmla="*/ 33697 w 67002"/>
                <a:gd name="connsiteY5" fmla="*/ 86995 h 86995"/>
                <a:gd name="connsiteX6" fmla="*/ 66748 w 67002"/>
                <a:gd name="connsiteY6" fmla="*/ 40958 h 86995"/>
                <a:gd name="connsiteX7" fmla="*/ 57223 w 67002"/>
                <a:gd name="connsiteY7" fmla="*/ 10985 h 86995"/>
                <a:gd name="connsiteX8" fmla="*/ 33792 w 67002"/>
                <a:gd name="connsiteY8" fmla="*/ 0 h 86995"/>
                <a:gd name="connsiteX9" fmla="*/ 47540 w 67002"/>
                <a:gd name="connsiteY9" fmla="*/ 39561 h 86995"/>
                <a:gd name="connsiteX10" fmla="*/ 33792 w 67002"/>
                <a:gd name="connsiteY10" fmla="*/ 67596 h 86995"/>
                <a:gd name="connsiteX11" fmla="*/ 33443 w 67002"/>
                <a:gd name="connsiteY11" fmla="*/ 67596 h 86995"/>
                <a:gd name="connsiteX12" fmla="*/ 19695 w 67002"/>
                <a:gd name="connsiteY12" fmla="*/ 39561 h 86995"/>
                <a:gd name="connsiteX13" fmla="*/ 23981 w 67002"/>
                <a:gd name="connsiteY13" fmla="*/ 24098 h 86995"/>
                <a:gd name="connsiteX14" fmla="*/ 33506 w 67002"/>
                <a:gd name="connsiteY14" fmla="*/ 19272 h 86995"/>
                <a:gd name="connsiteX15" fmla="*/ 33855 w 67002"/>
                <a:gd name="connsiteY15" fmla="*/ 19272 h 86995"/>
                <a:gd name="connsiteX16" fmla="*/ 43380 w 67002"/>
                <a:gd name="connsiteY16" fmla="*/ 24098 h 86995"/>
                <a:gd name="connsiteX17" fmla="*/ 47540 w 67002"/>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02" h="86995">
                  <a:moveTo>
                    <a:pt x="33792" y="0"/>
                  </a:moveTo>
                  <a:lnTo>
                    <a:pt x="33443" y="0"/>
                  </a:lnTo>
                  <a:cubicBezTo>
                    <a:pt x="24417" y="397"/>
                    <a:pt x="15915" y="4345"/>
                    <a:pt x="9789" y="10986"/>
                  </a:cubicBezTo>
                  <a:cubicBezTo>
                    <a:pt x="2446" y="19139"/>
                    <a:pt x="-1025" y="30061"/>
                    <a:pt x="264" y="40958"/>
                  </a:cubicBezTo>
                  <a:cubicBezTo>
                    <a:pt x="2582" y="72708"/>
                    <a:pt x="18552" y="86995"/>
                    <a:pt x="33347" y="86995"/>
                  </a:cubicBezTo>
                  <a:lnTo>
                    <a:pt x="33697" y="86995"/>
                  </a:lnTo>
                  <a:cubicBezTo>
                    <a:pt x="48492" y="86995"/>
                    <a:pt x="64431" y="72771"/>
                    <a:pt x="66748" y="40958"/>
                  </a:cubicBezTo>
                  <a:cubicBezTo>
                    <a:pt x="68008" y="30064"/>
                    <a:pt x="64540" y="19153"/>
                    <a:pt x="57223" y="10985"/>
                  </a:cubicBezTo>
                  <a:cubicBezTo>
                    <a:pt x="51152" y="4398"/>
                    <a:pt x="42739" y="454"/>
                    <a:pt x="33792" y="0"/>
                  </a:cubicBezTo>
                  <a:close/>
                  <a:moveTo>
                    <a:pt x="47540" y="39561"/>
                  </a:moveTo>
                  <a:cubicBezTo>
                    <a:pt x="46111" y="58896"/>
                    <a:pt x="38650" y="67596"/>
                    <a:pt x="33792" y="67596"/>
                  </a:cubicBezTo>
                  <a:lnTo>
                    <a:pt x="33443" y="67596"/>
                  </a:lnTo>
                  <a:cubicBezTo>
                    <a:pt x="28585" y="67596"/>
                    <a:pt x="21092" y="58896"/>
                    <a:pt x="19695" y="39561"/>
                  </a:cubicBezTo>
                  <a:cubicBezTo>
                    <a:pt x="18851" y="34031"/>
                    <a:pt x="20410" y="28404"/>
                    <a:pt x="23981" y="24098"/>
                  </a:cubicBezTo>
                  <a:cubicBezTo>
                    <a:pt x="26481" y="21407"/>
                    <a:pt x="29858" y="19696"/>
                    <a:pt x="33506" y="19272"/>
                  </a:cubicBezTo>
                  <a:lnTo>
                    <a:pt x="33855" y="19272"/>
                  </a:lnTo>
                  <a:cubicBezTo>
                    <a:pt x="37502" y="19702"/>
                    <a:pt x="40878" y="21412"/>
                    <a:pt x="43380" y="24098"/>
                  </a:cubicBezTo>
                  <a:cubicBezTo>
                    <a:pt x="46891" y="28432"/>
                    <a:pt x="48403" y="34050"/>
                    <a:pt x="47540"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Freeform 26">
              <a:extLst>
                <a:ext uri="{FF2B5EF4-FFF2-40B4-BE49-F238E27FC236}">
                  <a16:creationId xmlns:a16="http://schemas.microsoft.com/office/drawing/2014/main" id="{0AC672E8-031C-2597-4D12-31C153016439}"/>
                </a:ext>
              </a:extLst>
            </p:cNvPr>
            <p:cNvSpPr/>
            <p:nvPr/>
          </p:nvSpPr>
          <p:spPr>
            <a:xfrm>
              <a:off x="5907984" y="2981761"/>
              <a:ext cx="67028" cy="86995"/>
            </a:xfrm>
            <a:custGeom>
              <a:avLst/>
              <a:gdLst>
                <a:gd name="connsiteX0" fmla="*/ 33776 w 67028"/>
                <a:gd name="connsiteY0" fmla="*/ 0 h 86995"/>
                <a:gd name="connsiteX1" fmla="*/ 33427 w 67028"/>
                <a:gd name="connsiteY1" fmla="*/ 0 h 86995"/>
                <a:gd name="connsiteX2" fmla="*/ 9773 w 67028"/>
                <a:gd name="connsiteY2" fmla="*/ 10986 h 86995"/>
                <a:gd name="connsiteX3" fmla="*/ 248 w 67028"/>
                <a:gd name="connsiteY3" fmla="*/ 40958 h 86995"/>
                <a:gd name="connsiteX4" fmla="*/ 33332 w 67028"/>
                <a:gd name="connsiteY4" fmla="*/ 86995 h 86995"/>
                <a:gd name="connsiteX5" fmla="*/ 33681 w 67028"/>
                <a:gd name="connsiteY5" fmla="*/ 86995 h 86995"/>
                <a:gd name="connsiteX6" fmla="*/ 66764 w 67028"/>
                <a:gd name="connsiteY6" fmla="*/ 40958 h 86995"/>
                <a:gd name="connsiteX7" fmla="*/ 57239 w 67028"/>
                <a:gd name="connsiteY7" fmla="*/ 10985 h 86995"/>
                <a:gd name="connsiteX8" fmla="*/ 33776 w 67028"/>
                <a:gd name="connsiteY8" fmla="*/ 0 h 86995"/>
                <a:gd name="connsiteX9" fmla="*/ 47524 w 67028"/>
                <a:gd name="connsiteY9" fmla="*/ 39561 h 86995"/>
                <a:gd name="connsiteX10" fmla="*/ 33776 w 67028"/>
                <a:gd name="connsiteY10" fmla="*/ 67596 h 86995"/>
                <a:gd name="connsiteX11" fmla="*/ 33427 w 67028"/>
                <a:gd name="connsiteY11" fmla="*/ 67596 h 86995"/>
                <a:gd name="connsiteX12" fmla="*/ 19679 w 67028"/>
                <a:gd name="connsiteY12" fmla="*/ 39561 h 86995"/>
                <a:gd name="connsiteX13" fmla="*/ 23965 w 67028"/>
                <a:gd name="connsiteY13" fmla="*/ 24098 h 86995"/>
                <a:gd name="connsiteX14" fmla="*/ 33490 w 67028"/>
                <a:gd name="connsiteY14" fmla="*/ 19272 h 86995"/>
                <a:gd name="connsiteX15" fmla="*/ 33840 w 67028"/>
                <a:gd name="connsiteY15" fmla="*/ 19272 h 86995"/>
                <a:gd name="connsiteX16" fmla="*/ 43365 w 67028"/>
                <a:gd name="connsiteY16" fmla="*/ 24098 h 86995"/>
                <a:gd name="connsiteX17" fmla="*/ 47524 w 67028"/>
                <a:gd name="connsiteY17" fmla="*/ 39561 h 8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028" h="86995">
                  <a:moveTo>
                    <a:pt x="33776" y="0"/>
                  </a:moveTo>
                  <a:lnTo>
                    <a:pt x="33427" y="0"/>
                  </a:lnTo>
                  <a:cubicBezTo>
                    <a:pt x="24401" y="397"/>
                    <a:pt x="15899" y="4345"/>
                    <a:pt x="9773" y="10986"/>
                  </a:cubicBezTo>
                  <a:cubicBezTo>
                    <a:pt x="2471" y="19162"/>
                    <a:pt x="-995" y="30066"/>
                    <a:pt x="248" y="40958"/>
                  </a:cubicBezTo>
                  <a:cubicBezTo>
                    <a:pt x="2566" y="72708"/>
                    <a:pt x="18536" y="86995"/>
                    <a:pt x="33332" y="86995"/>
                  </a:cubicBezTo>
                  <a:lnTo>
                    <a:pt x="33681" y="86995"/>
                  </a:lnTo>
                  <a:cubicBezTo>
                    <a:pt x="48476" y="86995"/>
                    <a:pt x="64447" y="72771"/>
                    <a:pt x="66764" y="40958"/>
                  </a:cubicBezTo>
                  <a:cubicBezTo>
                    <a:pt x="68053" y="30061"/>
                    <a:pt x="64582" y="19139"/>
                    <a:pt x="57239" y="10985"/>
                  </a:cubicBezTo>
                  <a:cubicBezTo>
                    <a:pt x="51160" y="4391"/>
                    <a:pt x="42734" y="446"/>
                    <a:pt x="33776" y="0"/>
                  </a:cubicBezTo>
                  <a:close/>
                  <a:moveTo>
                    <a:pt x="47524" y="39561"/>
                  </a:moveTo>
                  <a:cubicBezTo>
                    <a:pt x="46127" y="58896"/>
                    <a:pt x="38634" y="67596"/>
                    <a:pt x="33776" y="67596"/>
                  </a:cubicBezTo>
                  <a:lnTo>
                    <a:pt x="33427" y="67596"/>
                  </a:lnTo>
                  <a:cubicBezTo>
                    <a:pt x="28569" y="67596"/>
                    <a:pt x="21108" y="58896"/>
                    <a:pt x="19679" y="39561"/>
                  </a:cubicBezTo>
                  <a:cubicBezTo>
                    <a:pt x="18851" y="34032"/>
                    <a:pt x="20409" y="28412"/>
                    <a:pt x="23965" y="24098"/>
                  </a:cubicBezTo>
                  <a:cubicBezTo>
                    <a:pt x="26468" y="21412"/>
                    <a:pt x="29844" y="19702"/>
                    <a:pt x="33490" y="19272"/>
                  </a:cubicBezTo>
                  <a:lnTo>
                    <a:pt x="33840" y="19272"/>
                  </a:lnTo>
                  <a:cubicBezTo>
                    <a:pt x="37486" y="19702"/>
                    <a:pt x="40862" y="21412"/>
                    <a:pt x="43365" y="24098"/>
                  </a:cubicBezTo>
                  <a:cubicBezTo>
                    <a:pt x="46890" y="28425"/>
                    <a:pt x="48403" y="34049"/>
                    <a:pt x="47524" y="39561"/>
                  </a:cubicBezTo>
                  <a:close/>
                </a:path>
              </a:pathLst>
            </a:custGeom>
            <a:solidFill>
              <a:srgbClr val="000000"/>
            </a:solidFill>
            <a:ln w="317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grpSp>
      <p:grpSp>
        <p:nvGrpSpPr>
          <p:cNvPr id="30" name="Group 29">
            <a:extLst>
              <a:ext uri="{FF2B5EF4-FFF2-40B4-BE49-F238E27FC236}">
                <a16:creationId xmlns:a16="http://schemas.microsoft.com/office/drawing/2014/main" id="{07591511-A3F4-01C8-A323-5FE5DFF84753}"/>
              </a:ext>
            </a:extLst>
          </p:cNvPr>
          <p:cNvGrpSpPr/>
          <p:nvPr/>
        </p:nvGrpSpPr>
        <p:grpSpPr>
          <a:xfrm>
            <a:off x="9042363" y="126781"/>
            <a:ext cx="2706725" cy="217488"/>
            <a:chOff x="8561592" y="126781"/>
            <a:chExt cx="2706725" cy="217488"/>
          </a:xfrm>
        </p:grpSpPr>
        <p:sp>
          <p:nvSpPr>
            <p:cNvPr id="31" name="Rectangle 30">
              <a:extLst>
                <a:ext uri="{FF2B5EF4-FFF2-40B4-BE49-F238E27FC236}">
                  <a16:creationId xmlns:a16="http://schemas.microsoft.com/office/drawing/2014/main" id="{CD70A212-4548-A05D-7D7F-C4E46E78A81D}"/>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32" name="Rectangle 31">
              <a:extLst>
                <a:ext uri="{FF2B5EF4-FFF2-40B4-BE49-F238E27FC236}">
                  <a16:creationId xmlns:a16="http://schemas.microsoft.com/office/drawing/2014/main" id="{DC6F44D1-A404-2A05-17F3-A3E799CB31D4}"/>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33" name="Rectangle 32">
              <a:extLst>
                <a:ext uri="{FF2B5EF4-FFF2-40B4-BE49-F238E27FC236}">
                  <a16:creationId xmlns:a16="http://schemas.microsoft.com/office/drawing/2014/main" id="{972C0C05-4E3B-02C6-1C0A-EB23E49C03F3}"/>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34" name="Rectangle 33">
              <a:extLst>
                <a:ext uri="{FF2B5EF4-FFF2-40B4-BE49-F238E27FC236}">
                  <a16:creationId xmlns:a16="http://schemas.microsoft.com/office/drawing/2014/main" id="{40911210-48B9-F5DD-C452-9063D71FBE9A}"/>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7632A416-BEFC-DD57-1CB4-0EEA7F2D04E7}"/>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66435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68A857FA-F039-D655-36D8-0108AC975ED5}"/>
              </a:ext>
            </a:extLst>
          </p:cNvPr>
          <p:cNvSpPr>
            <a:spLocks noGrp="1"/>
          </p:cNvSpPr>
          <p:nvPr>
            <p:ph type="title"/>
          </p:nvPr>
        </p:nvSpPr>
        <p:spPr/>
        <p:txBody>
          <a:bodyPr vert="horz"/>
          <a:lstStyle/>
          <a:p>
            <a:r>
              <a:rPr lang="lv-LV" dirty="0"/>
              <a:t>Katastrofas pārvaldīšanas pasākumu kopums, kuri tiek veikti, </a:t>
            </a:r>
            <a:r>
              <a:rPr lang="lv-LV"/>
              <a:t>lai nodrošinātu civilās aizsardzības uzdevumu izpildi</a:t>
            </a:r>
            <a:endParaRPr lang="en-US"/>
          </a:p>
        </p:txBody>
      </p:sp>
      <p:pic>
        <p:nvPicPr>
          <p:cNvPr id="1026" name="Picture 2" descr="trees on fire">
            <a:extLst>
              <a:ext uri="{FF2B5EF4-FFF2-40B4-BE49-F238E27FC236}">
                <a16:creationId xmlns:a16="http://schemas.microsoft.com/office/drawing/2014/main" id="{C2CD0E86-8EE3-2726-6E38-2AD4CBD674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8" y="2643873"/>
            <a:ext cx="5473699" cy="352807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1607F7F1-1C72-FF33-F6D1-9CD3D5D23E51}"/>
              </a:ext>
            </a:extLst>
          </p:cNvPr>
          <p:cNvSpPr/>
          <p:nvPr/>
        </p:nvSpPr>
        <p:spPr>
          <a:xfrm rot="16200000">
            <a:off x="8977313"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7" name="Rectangle 26">
            <a:extLst>
              <a:ext uri="{FF2B5EF4-FFF2-40B4-BE49-F238E27FC236}">
                <a16:creationId xmlns:a16="http://schemas.microsoft.com/office/drawing/2014/main" id="{15984EE8-C9BB-B60C-BB13-33D33B1BFB30}"/>
              </a:ext>
            </a:extLst>
          </p:cNvPr>
          <p:cNvSpPr/>
          <p:nvPr/>
        </p:nvSpPr>
        <p:spPr>
          <a:xfrm>
            <a:off x="3449638"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Gatavības pasākumi</a:t>
            </a:r>
          </a:p>
        </p:txBody>
      </p:sp>
      <p:sp>
        <p:nvSpPr>
          <p:cNvPr id="29" name="Rectangle 28">
            <a:extLst>
              <a:ext uri="{FF2B5EF4-FFF2-40B4-BE49-F238E27FC236}">
                <a16:creationId xmlns:a16="http://schemas.microsoft.com/office/drawing/2014/main" id="{22DC0F7F-BD66-DF56-4F98-E93B8F0FCFE9}"/>
              </a:ext>
            </a:extLst>
          </p:cNvPr>
          <p:cNvSpPr/>
          <p:nvPr/>
        </p:nvSpPr>
        <p:spPr>
          <a:xfrm>
            <a:off x="450850" y="2636313"/>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Preventīvie pasākumi</a:t>
            </a:r>
          </a:p>
        </p:txBody>
      </p:sp>
      <p:sp>
        <p:nvSpPr>
          <p:cNvPr id="30" name="Rectangle 29">
            <a:extLst>
              <a:ext uri="{FF2B5EF4-FFF2-40B4-BE49-F238E27FC236}">
                <a16:creationId xmlns:a16="http://schemas.microsoft.com/office/drawing/2014/main" id="{A2195644-7FE7-004F-5A00-A8977CAFA56E}"/>
              </a:ext>
            </a:extLst>
          </p:cNvPr>
          <p:cNvSpPr/>
          <p:nvPr/>
        </p:nvSpPr>
        <p:spPr>
          <a:xfrm>
            <a:off x="1759267" y="5534026"/>
            <a:ext cx="2474913" cy="638175"/>
          </a:xfrm>
          <a:prstGeom prst="rect">
            <a:avLst/>
          </a:prstGeom>
          <a:solidFill>
            <a:schemeClr val="bg1">
              <a:lumMod val="95000"/>
            </a:schemeClr>
          </a:solidFill>
          <a:ln w="25400" cap="flat" cmpd="sng" algn="ctr">
            <a:noFill/>
            <a:prstDash val="solid"/>
          </a:ln>
          <a:effectLst/>
        </p:spPr>
        <p:txBody>
          <a:bodyPr wrap="square" lIns="36000" tIns="36000" rIns="36000" bIns="36000" rtlCol="0" anchor="ctr">
            <a:noAutofit/>
          </a:bodyPr>
          <a:lstStyle/>
          <a:p>
            <a:pPr algn="ctr">
              <a:buClrTx/>
              <a:defRPr/>
            </a:pPr>
            <a:r>
              <a:rPr lang="lv-LV" sz="1600"/>
              <a:t>Seku likvidēšanas</a:t>
            </a:r>
          </a:p>
          <a:p>
            <a:pPr algn="ctr">
              <a:buClrTx/>
              <a:defRPr/>
            </a:pPr>
            <a:r>
              <a:rPr lang="lv-LV" sz="1600"/>
              <a:t>pasākumi</a:t>
            </a:r>
          </a:p>
        </p:txBody>
      </p:sp>
      <p:sp>
        <p:nvSpPr>
          <p:cNvPr id="31" name="Rectangle 30">
            <a:extLst>
              <a:ext uri="{FF2B5EF4-FFF2-40B4-BE49-F238E27FC236}">
                <a16:creationId xmlns:a16="http://schemas.microsoft.com/office/drawing/2014/main" id="{4AA2E851-1C50-1074-E2C6-39B51A56ADCD}"/>
              </a:ext>
            </a:extLst>
          </p:cNvPr>
          <p:cNvSpPr/>
          <p:nvPr/>
        </p:nvSpPr>
        <p:spPr>
          <a:xfrm>
            <a:off x="4244976" y="4169646"/>
            <a:ext cx="1671638"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Reaģēšanas</a:t>
            </a:r>
          </a:p>
          <a:p>
            <a:pPr algn="ctr">
              <a:buClrTx/>
              <a:defRPr/>
            </a:pPr>
            <a:r>
              <a:rPr lang="lv-LV" sz="1600"/>
              <a:t>pasākumi</a:t>
            </a:r>
          </a:p>
        </p:txBody>
      </p:sp>
      <p:sp>
        <p:nvSpPr>
          <p:cNvPr id="32" name="Rectangle 31">
            <a:extLst>
              <a:ext uri="{FF2B5EF4-FFF2-40B4-BE49-F238E27FC236}">
                <a16:creationId xmlns:a16="http://schemas.microsoft.com/office/drawing/2014/main" id="{8A224914-0B0F-18E4-7544-B750500D16F7}"/>
              </a:ext>
            </a:extLst>
          </p:cNvPr>
          <p:cNvSpPr/>
          <p:nvPr/>
        </p:nvSpPr>
        <p:spPr>
          <a:xfrm>
            <a:off x="450850" y="4169646"/>
            <a:ext cx="1672159" cy="637849"/>
          </a:xfrm>
          <a:prstGeom prst="rect">
            <a:avLst/>
          </a:prstGeom>
          <a:solidFill>
            <a:schemeClr val="bg1">
              <a:lumMod val="95000"/>
            </a:schemeClr>
          </a:solidFill>
          <a:ln w="25400" cap="flat" cmpd="sng" algn="ctr">
            <a:noFill/>
            <a:prstDash val="solid"/>
          </a:ln>
          <a:effectLst/>
        </p:spPr>
        <p:txBody>
          <a:bodyPr wrap="square" lIns="72000" tIns="72000" rIns="72000" bIns="72000" rtlCol="0" anchor="ctr">
            <a:noAutofit/>
          </a:bodyPr>
          <a:lstStyle/>
          <a:p>
            <a:pPr algn="ctr">
              <a:buClrTx/>
              <a:defRPr/>
            </a:pPr>
            <a:r>
              <a:rPr lang="lv-LV" sz="1600"/>
              <a:t>Atjaunošanas</a:t>
            </a:r>
          </a:p>
          <a:p>
            <a:pPr algn="ctr">
              <a:buClrTx/>
              <a:defRPr/>
            </a:pPr>
            <a:r>
              <a:rPr lang="lv-LV" sz="1600"/>
              <a:t>pasākumi</a:t>
            </a:r>
          </a:p>
        </p:txBody>
      </p:sp>
      <p:sp>
        <p:nvSpPr>
          <p:cNvPr id="33" name="Rectangle 32">
            <a:extLst>
              <a:ext uri="{FF2B5EF4-FFF2-40B4-BE49-F238E27FC236}">
                <a16:creationId xmlns:a16="http://schemas.microsoft.com/office/drawing/2014/main" id="{95E4BD4E-B554-1845-8B82-E05522B519FA}"/>
              </a:ext>
            </a:extLst>
          </p:cNvPr>
          <p:cNvSpPr/>
          <p:nvPr/>
        </p:nvSpPr>
        <p:spPr>
          <a:xfrm>
            <a:off x="2348173" y="4169646"/>
            <a:ext cx="1671638" cy="637849"/>
          </a:xfrm>
          <a:prstGeom prst="rect">
            <a:avLst/>
          </a:prstGeom>
          <a:solidFill>
            <a:srgbClr val="525A72"/>
          </a:solidFill>
          <a:ln w="25400" cap="flat" cmpd="sng" algn="ctr">
            <a:noFill/>
            <a:prstDash val="solid"/>
          </a:ln>
          <a:effectLst/>
        </p:spPr>
        <p:txBody>
          <a:bodyPr wrap="square" lIns="72000" tIns="72000" rIns="72000" bIns="72000" rtlCol="0" anchor="ctr">
            <a:noAutofit/>
          </a:bodyPr>
          <a:lstStyle/>
          <a:p>
            <a:pPr algn="ctr">
              <a:buClrTx/>
              <a:defRPr/>
            </a:pPr>
            <a:r>
              <a:rPr lang="lv-LV" sz="1600">
                <a:solidFill>
                  <a:schemeClr val="bg1"/>
                </a:solidFill>
              </a:rPr>
              <a:t>Katastrofu</a:t>
            </a:r>
          </a:p>
          <a:p>
            <a:pPr algn="ctr">
              <a:buClrTx/>
              <a:defRPr/>
            </a:pPr>
            <a:r>
              <a:rPr lang="lv-LV" sz="1600">
                <a:solidFill>
                  <a:schemeClr val="bg1"/>
                </a:solidFill>
              </a:rPr>
              <a:t>pārvaldīšana</a:t>
            </a:r>
          </a:p>
        </p:txBody>
      </p:sp>
      <p:sp>
        <p:nvSpPr>
          <p:cNvPr id="34" name="TextBox 33">
            <a:extLst>
              <a:ext uri="{FF2B5EF4-FFF2-40B4-BE49-F238E27FC236}">
                <a16:creationId xmlns:a16="http://schemas.microsoft.com/office/drawing/2014/main" id="{AE274C7E-C9F8-C153-DCD4-02857A1ACE02}"/>
              </a:ext>
            </a:extLst>
          </p:cNvPr>
          <p:cNvSpPr txBox="1"/>
          <p:nvPr/>
        </p:nvSpPr>
        <p:spPr>
          <a:xfrm>
            <a:off x="5229444" y="4015758"/>
            <a:ext cx="684483" cy="153888"/>
          </a:xfrm>
          <a:prstGeom prst="rect">
            <a:avLst/>
          </a:prstGeom>
          <a:noFill/>
        </p:spPr>
        <p:txBody>
          <a:bodyPr wrap="none" lIns="0" tIns="0" rIns="0" bIns="0" anchor="ctr">
            <a:spAutoFit/>
          </a:bodyPr>
          <a:lstStyle/>
          <a:p>
            <a:pPr defTabSz="822960">
              <a:spcAft>
                <a:spcPts val="270"/>
              </a:spcAft>
              <a:defRPr/>
            </a:pPr>
            <a:r>
              <a:rPr lang="lv-LV" sz="1000" b="1">
                <a:solidFill>
                  <a:srgbClr val="000000"/>
                </a:solidFill>
                <a:ea typeface="Times New Roman" panose="02020603050405020304" pitchFamily="18" charset="0"/>
                <a:cs typeface="Times New Roman" panose="02020603050405020304" pitchFamily="18" charset="0"/>
              </a:rPr>
              <a:t>NOTIKUMS</a:t>
            </a:r>
          </a:p>
        </p:txBody>
      </p:sp>
      <p:cxnSp>
        <p:nvCxnSpPr>
          <p:cNvPr id="59" name="Straight Arrow Connector 58">
            <a:extLst>
              <a:ext uri="{FF2B5EF4-FFF2-40B4-BE49-F238E27FC236}">
                <a16:creationId xmlns:a16="http://schemas.microsoft.com/office/drawing/2014/main" id="{080656EA-CA32-EA83-16A6-89DAA75EEADC}"/>
              </a:ext>
            </a:extLst>
          </p:cNvPr>
          <p:cNvCxnSpPr/>
          <p:nvPr/>
        </p:nvCxnSpPr>
        <p:spPr>
          <a:xfrm>
            <a:off x="2934393" y="2963962"/>
            <a:ext cx="515245" cy="0"/>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1" name="Straight Arrow Connector 60">
            <a:extLst>
              <a:ext uri="{FF2B5EF4-FFF2-40B4-BE49-F238E27FC236}">
                <a16:creationId xmlns:a16="http://schemas.microsoft.com/office/drawing/2014/main" id="{EDDDF744-C4BB-915A-E6E9-779FBDCB621C}"/>
              </a:ext>
            </a:extLst>
          </p:cNvPr>
          <p:cNvCxnSpPr>
            <a:cxnSpLocks/>
            <a:endCxn id="31" idx="0"/>
          </p:cNvCxnSpPr>
          <p:nvPr/>
        </p:nvCxnSpPr>
        <p:spPr>
          <a:xfrm>
            <a:off x="5080795"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63" name="Straight Arrow Connector 62">
            <a:extLst>
              <a:ext uri="{FF2B5EF4-FFF2-40B4-BE49-F238E27FC236}">
                <a16:creationId xmlns:a16="http://schemas.microsoft.com/office/drawing/2014/main" id="{E7FE51D5-B22B-39F1-B3B0-76BC875E88B0}"/>
              </a:ext>
            </a:extLst>
          </p:cNvPr>
          <p:cNvCxnSpPr>
            <a:cxnSpLocks/>
            <a:stCxn id="32" idx="0"/>
          </p:cNvCxnSpPr>
          <p:nvPr/>
        </p:nvCxnSpPr>
        <p:spPr>
          <a:xfrm flipV="1">
            <a:off x="1286930" y="3274244"/>
            <a:ext cx="0" cy="895402"/>
          </a:xfrm>
          <a:prstGeom prst="straightConnector1">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5" name="Connector: Elbow 1024">
            <a:extLst>
              <a:ext uri="{FF2B5EF4-FFF2-40B4-BE49-F238E27FC236}">
                <a16:creationId xmlns:a16="http://schemas.microsoft.com/office/drawing/2014/main" id="{434C3596-23D8-1100-6792-128CE3F52FA2}"/>
              </a:ext>
            </a:extLst>
          </p:cNvPr>
          <p:cNvCxnSpPr>
            <a:cxnSpLocks/>
            <a:stCxn id="31" idx="2"/>
            <a:endCxn id="30" idx="3"/>
          </p:cNvCxnSpPr>
          <p:nvPr/>
        </p:nvCxnSpPr>
        <p:spPr>
          <a:xfrm rot="5400000">
            <a:off x="4134679" y="4906997"/>
            <a:ext cx="1045619" cy="846615"/>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cxnSp>
        <p:nvCxnSpPr>
          <p:cNvPr id="1028" name="Connector: Elbow 1027">
            <a:extLst>
              <a:ext uri="{FF2B5EF4-FFF2-40B4-BE49-F238E27FC236}">
                <a16:creationId xmlns:a16="http://schemas.microsoft.com/office/drawing/2014/main" id="{BC80B717-DBCE-A0DC-53C8-F511A5B51EED}"/>
              </a:ext>
            </a:extLst>
          </p:cNvPr>
          <p:cNvCxnSpPr>
            <a:cxnSpLocks/>
            <a:stCxn id="30" idx="1"/>
            <a:endCxn id="32" idx="2"/>
          </p:cNvCxnSpPr>
          <p:nvPr/>
        </p:nvCxnSpPr>
        <p:spPr>
          <a:xfrm rot="10800000">
            <a:off x="1286931" y="4807496"/>
            <a:ext cx="472337" cy="1045619"/>
          </a:xfrm>
          <a:prstGeom prst="bentConnector2">
            <a:avLst/>
          </a:prstGeom>
          <a:ln w="12700" cap="sq">
            <a:solidFill>
              <a:schemeClr val="bg1">
                <a:lumMod val="75000"/>
              </a:schemeClr>
            </a:solidFill>
            <a:tailEnd type="triangle"/>
          </a:ln>
        </p:spPr>
        <p:style>
          <a:lnRef idx="1">
            <a:schemeClr val="accent1"/>
          </a:lnRef>
          <a:fillRef idx="0">
            <a:schemeClr val="accent1"/>
          </a:fillRef>
          <a:effectRef idx="0">
            <a:schemeClr val="dk1"/>
          </a:effectRef>
          <a:fontRef idx="minor">
            <a:schemeClr val="lt1"/>
          </a:fontRef>
        </p:style>
      </p:cxnSp>
      <p:sp>
        <p:nvSpPr>
          <p:cNvPr id="1029" name="Rectangle 1028">
            <a:extLst>
              <a:ext uri="{FF2B5EF4-FFF2-40B4-BE49-F238E27FC236}">
                <a16:creationId xmlns:a16="http://schemas.microsoft.com/office/drawing/2014/main" id="{138DAF56-3BB3-5618-C2A9-CA2840884100}"/>
              </a:ext>
            </a:extLst>
          </p:cNvPr>
          <p:cNvSpPr/>
          <p:nvPr/>
        </p:nvSpPr>
        <p:spPr>
          <a:xfrm>
            <a:off x="450850"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0" name="Rectangle 1029">
            <a:extLst>
              <a:ext uri="{FF2B5EF4-FFF2-40B4-BE49-F238E27FC236}">
                <a16:creationId xmlns:a16="http://schemas.microsoft.com/office/drawing/2014/main" id="{DA9567F8-09A8-7F7E-2290-A19597F1D3F8}"/>
              </a:ext>
            </a:extLst>
          </p:cNvPr>
          <p:cNvSpPr/>
          <p:nvPr/>
        </p:nvSpPr>
        <p:spPr>
          <a:xfrm>
            <a:off x="3449638" y="26363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1" name="Rectangle 1030">
            <a:extLst>
              <a:ext uri="{FF2B5EF4-FFF2-40B4-BE49-F238E27FC236}">
                <a16:creationId xmlns:a16="http://schemas.microsoft.com/office/drawing/2014/main" id="{0DA85A8D-077A-1486-D9A3-9245CB6A490B}"/>
              </a:ext>
            </a:extLst>
          </p:cNvPr>
          <p:cNvSpPr/>
          <p:nvPr/>
        </p:nvSpPr>
        <p:spPr>
          <a:xfrm>
            <a:off x="4244976"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2" name="Rectangle 1031">
            <a:extLst>
              <a:ext uri="{FF2B5EF4-FFF2-40B4-BE49-F238E27FC236}">
                <a16:creationId xmlns:a16="http://schemas.microsoft.com/office/drawing/2014/main" id="{A4DB1FDE-C313-B79E-FA88-34994B68B90E}"/>
              </a:ext>
            </a:extLst>
          </p:cNvPr>
          <p:cNvSpPr/>
          <p:nvPr/>
        </p:nvSpPr>
        <p:spPr>
          <a:xfrm>
            <a:off x="450850" y="4169320"/>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3" name="Rectangle 1032">
            <a:extLst>
              <a:ext uri="{FF2B5EF4-FFF2-40B4-BE49-F238E27FC236}">
                <a16:creationId xmlns:a16="http://schemas.microsoft.com/office/drawing/2014/main" id="{C153FC83-5E11-78B8-0FB8-C4C70CC079D2}"/>
              </a:ext>
            </a:extLst>
          </p:cNvPr>
          <p:cNvSpPr/>
          <p:nvPr/>
        </p:nvSpPr>
        <p:spPr>
          <a:xfrm>
            <a:off x="1759267" y="5533777"/>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35" name="Slide Number Placeholder 3">
            <a:extLst>
              <a:ext uri="{FF2B5EF4-FFF2-40B4-BE49-F238E27FC236}">
                <a16:creationId xmlns:a16="http://schemas.microsoft.com/office/drawing/2014/main" id="{9ADE683B-E8DD-0456-EA23-3FB1B5D9F04E}"/>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5</a:t>
            </a:fld>
            <a:endParaRPr lang="en-GB"/>
          </a:p>
        </p:txBody>
      </p:sp>
      <p:grpSp>
        <p:nvGrpSpPr>
          <p:cNvPr id="12" name="Group 11">
            <a:extLst>
              <a:ext uri="{FF2B5EF4-FFF2-40B4-BE49-F238E27FC236}">
                <a16:creationId xmlns:a16="http://schemas.microsoft.com/office/drawing/2014/main" id="{4624D312-3C9B-BAAE-0755-F098F423BAC2}"/>
              </a:ext>
            </a:extLst>
          </p:cNvPr>
          <p:cNvGrpSpPr/>
          <p:nvPr/>
        </p:nvGrpSpPr>
        <p:grpSpPr>
          <a:xfrm>
            <a:off x="9042363" y="126781"/>
            <a:ext cx="2706725" cy="217488"/>
            <a:chOff x="8561592" y="126781"/>
            <a:chExt cx="2706725" cy="217488"/>
          </a:xfrm>
        </p:grpSpPr>
        <p:sp>
          <p:nvSpPr>
            <p:cNvPr id="13" name="Rectangle 12">
              <a:extLst>
                <a:ext uri="{FF2B5EF4-FFF2-40B4-BE49-F238E27FC236}">
                  <a16:creationId xmlns:a16="http://schemas.microsoft.com/office/drawing/2014/main" id="{FE000B9F-531F-5BB0-AB69-E72C8BA69A50}"/>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4" name="Rectangle 13">
              <a:extLst>
                <a:ext uri="{FF2B5EF4-FFF2-40B4-BE49-F238E27FC236}">
                  <a16:creationId xmlns:a16="http://schemas.microsoft.com/office/drawing/2014/main" id="{94F2685C-B772-E985-04FC-90BEB8CFFBFA}"/>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15" name="Rectangle 14">
              <a:extLst>
                <a:ext uri="{FF2B5EF4-FFF2-40B4-BE49-F238E27FC236}">
                  <a16:creationId xmlns:a16="http://schemas.microsoft.com/office/drawing/2014/main" id="{2F46D90F-C1A9-DD63-06C7-989129A10D5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16" name="Rectangle 15">
              <a:extLst>
                <a:ext uri="{FF2B5EF4-FFF2-40B4-BE49-F238E27FC236}">
                  <a16:creationId xmlns:a16="http://schemas.microsoft.com/office/drawing/2014/main" id="{21390703-9910-50AC-6296-319B7249641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16295B13-B1EF-28BE-71A6-9D017606EA7F}"/>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
        <p:nvSpPr>
          <p:cNvPr id="8" name="Rectangle 7">
            <a:extLst>
              <a:ext uri="{FF2B5EF4-FFF2-40B4-BE49-F238E27FC236}">
                <a16:creationId xmlns:a16="http://schemas.microsoft.com/office/drawing/2014/main" id="{9BD67A22-D86F-7BD8-3A81-31954ADD6283}"/>
              </a:ext>
            </a:extLst>
          </p:cNvPr>
          <p:cNvSpPr/>
          <p:nvPr/>
        </p:nvSpPr>
        <p:spPr>
          <a:xfrm>
            <a:off x="1031875" y="1829210"/>
            <a:ext cx="10717212"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dirty="0" err="1">
                <a:solidFill>
                  <a:schemeClr val="tx1"/>
                </a:solidFill>
                <a:cs typeface="Arial"/>
              </a:rPr>
              <a:t>Civilās</a:t>
            </a:r>
            <a:r>
              <a:rPr lang="en-US" altLang="lv-LV" sz="1600" b="1" dirty="0">
                <a:solidFill>
                  <a:schemeClr val="tx1"/>
                </a:solidFill>
                <a:cs typeface="Arial"/>
              </a:rPr>
              <a:t> </a:t>
            </a:r>
            <a:r>
              <a:rPr lang="en-US" altLang="lv-LV" sz="1600" b="1" dirty="0" err="1">
                <a:solidFill>
                  <a:schemeClr val="tx1"/>
                </a:solidFill>
                <a:cs typeface="Arial"/>
              </a:rPr>
              <a:t>aizsardzības</a:t>
            </a:r>
            <a:r>
              <a:rPr lang="en-US" altLang="lv-LV" sz="1600" b="1" dirty="0">
                <a:solidFill>
                  <a:schemeClr val="tx1"/>
                </a:solidFill>
                <a:cs typeface="Arial"/>
              </a:rPr>
              <a:t> un </a:t>
            </a:r>
            <a:r>
              <a:rPr lang="en-US" altLang="lv-LV" sz="1600" b="1" dirty="0" err="1">
                <a:solidFill>
                  <a:schemeClr val="tx1"/>
                </a:solidFill>
                <a:cs typeface="Arial"/>
              </a:rPr>
              <a:t>katastrof</a:t>
            </a:r>
            <a:r>
              <a:rPr lang="lv-LV" altLang="lv-LV" sz="1600" b="1" dirty="0" err="1">
                <a:solidFill>
                  <a:schemeClr val="tx1"/>
                </a:solidFill>
                <a:cs typeface="Arial"/>
              </a:rPr>
              <a:t>as</a:t>
            </a:r>
            <a:r>
              <a:rPr lang="en-US" altLang="lv-LV" sz="1600" b="1" dirty="0">
                <a:solidFill>
                  <a:schemeClr val="tx1"/>
                </a:solidFill>
                <a:cs typeface="Arial"/>
              </a:rPr>
              <a:t> </a:t>
            </a:r>
            <a:r>
              <a:rPr lang="en-US" altLang="lv-LV" sz="1600" b="1" dirty="0" err="1">
                <a:solidFill>
                  <a:schemeClr val="tx1"/>
                </a:solidFill>
                <a:cs typeface="Arial"/>
              </a:rPr>
              <a:t>pārvaldīšanas</a:t>
            </a:r>
            <a:r>
              <a:rPr lang="en-US" altLang="lv-LV" sz="1600" b="1" dirty="0">
                <a:solidFill>
                  <a:schemeClr val="tx1"/>
                </a:solidFill>
                <a:cs typeface="Arial"/>
              </a:rPr>
              <a:t> </a:t>
            </a:r>
            <a:r>
              <a:rPr lang="en-US" altLang="lv-LV" sz="1600" b="1" dirty="0" err="1">
                <a:solidFill>
                  <a:schemeClr val="tx1"/>
                </a:solidFill>
                <a:cs typeface="Arial"/>
              </a:rPr>
              <a:t>likum</a:t>
            </a:r>
            <a:r>
              <a:rPr lang="lv-LV" altLang="lv-LV" sz="1600" b="1" dirty="0">
                <a:solidFill>
                  <a:schemeClr val="tx1"/>
                </a:solidFill>
                <a:cs typeface="Arial"/>
              </a:rPr>
              <a:t>ā noteiktais pasākumu kopums:</a:t>
            </a:r>
            <a:endParaRPr lang="en-US" altLang="lv-LV" sz="1600" b="1" dirty="0">
              <a:solidFill>
                <a:schemeClr val="tx1"/>
              </a:solidFill>
              <a:cs typeface="Arial"/>
            </a:endParaRPr>
          </a:p>
        </p:txBody>
      </p:sp>
      <p:sp>
        <p:nvSpPr>
          <p:cNvPr id="9" name="Rectangle 8">
            <a:extLst>
              <a:ext uri="{FF2B5EF4-FFF2-40B4-BE49-F238E27FC236}">
                <a16:creationId xmlns:a16="http://schemas.microsoft.com/office/drawing/2014/main" id="{A97DF582-0037-7FA2-D4D8-4A8568682683}"/>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Freeform 20">
            <a:extLst>
              <a:ext uri="{FF2B5EF4-FFF2-40B4-BE49-F238E27FC236}">
                <a16:creationId xmlns:a16="http://schemas.microsoft.com/office/drawing/2014/main" id="{E566CE8A-64C9-AD1F-35CF-3FDE1EA618BF}"/>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Tree>
    <p:extLst>
      <p:ext uri="{BB962C8B-B14F-4D97-AF65-F5344CB8AC3E}">
        <p14:creationId xmlns:p14="http://schemas.microsoft.com/office/powerpoint/2010/main" val="3266631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people wearing boots">
            <a:extLst>
              <a:ext uri="{FF2B5EF4-FFF2-40B4-BE49-F238E27FC236}">
                <a16:creationId xmlns:a16="http://schemas.microsoft.com/office/drawing/2014/main" id="{67DE31DA-7C82-F8F2-8770-DFCCF05F1A2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6264276" y="4175125"/>
            <a:ext cx="5484813" cy="199707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yellow and black excavator on rocky ground">
            <a:extLst>
              <a:ext uri="{FF2B5EF4-FFF2-40B4-BE49-F238E27FC236}">
                <a16:creationId xmlns:a16="http://schemas.microsoft.com/office/drawing/2014/main" id="{B3741283-DA3E-45CC-7819-7250C7A17B7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64276" y="1819275"/>
            <a:ext cx="5484813" cy="199707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txBox="1">
            <a:spLocks noGrp="1"/>
          </p:cNvSpPr>
          <p:nvPr>
            <p:ph type="title"/>
          </p:nvPr>
        </p:nvSpPr>
        <p:spPr>
          <a:xfrm>
            <a:off x="442913" y="432001"/>
            <a:ext cx="11306175" cy="418576"/>
          </a:xfrm>
        </p:spPr>
        <p:txBody>
          <a:bodyPr vert="horz" wrap="square" lIns="0" tIns="0" rIns="0" bIns="0" rtlCol="0">
            <a:spAutoFit/>
          </a:bodyPr>
          <a:lstStyle/>
          <a:p>
            <a:r>
              <a:rPr lang="lv-LV"/>
              <a:t>Preventīvie un gatavības pasākumi</a:t>
            </a:r>
          </a:p>
        </p:txBody>
      </p:sp>
      <p:sp>
        <p:nvSpPr>
          <p:cNvPr id="12" name="Rectangle 11">
            <a:extLst>
              <a:ext uri="{FF2B5EF4-FFF2-40B4-BE49-F238E27FC236}">
                <a16:creationId xmlns:a16="http://schemas.microsoft.com/office/drawing/2014/main" id="{129C2222-E730-B497-A27E-A5225D60F673}"/>
              </a:ext>
            </a:extLst>
          </p:cNvPr>
          <p:cNvSpPr/>
          <p:nvPr/>
        </p:nvSpPr>
        <p:spPr>
          <a:xfrm>
            <a:off x="441326" y="1819276"/>
            <a:ext cx="5475286"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GB" sz="1600" b="1" err="1">
                <a:latin typeface="Arial"/>
                <a:cs typeface="Arial"/>
              </a:rPr>
              <a:t>Preventīvie</a:t>
            </a:r>
            <a:r>
              <a:rPr lang="en-GB" sz="1600" b="1" spc="415">
                <a:latin typeface="Arial"/>
                <a:cs typeface="Arial"/>
              </a:rPr>
              <a:t> </a:t>
            </a:r>
            <a:r>
              <a:rPr lang="en-GB" sz="1600" b="1" err="1">
                <a:latin typeface="Arial"/>
                <a:cs typeface="Arial"/>
              </a:rPr>
              <a:t>pasākumi</a:t>
            </a:r>
            <a:r>
              <a:rPr lang="en-GB" sz="1600" b="1" spc="405">
                <a:latin typeface="Arial"/>
                <a:cs typeface="Arial"/>
              </a:rPr>
              <a:t> </a:t>
            </a:r>
            <a:endParaRPr lang="en-US" sz="1600">
              <a:solidFill>
                <a:schemeClr val="bg1"/>
              </a:solidFill>
            </a:endParaRPr>
          </a:p>
        </p:txBody>
      </p:sp>
      <p:sp>
        <p:nvSpPr>
          <p:cNvPr id="13" name="TextBox 12">
            <a:extLst>
              <a:ext uri="{FF2B5EF4-FFF2-40B4-BE49-F238E27FC236}">
                <a16:creationId xmlns:a16="http://schemas.microsoft.com/office/drawing/2014/main" id="{C108459B-2315-9DE0-907C-15339BD2BB28}"/>
              </a:ext>
            </a:extLst>
          </p:cNvPr>
          <p:cNvSpPr txBox="1"/>
          <p:nvPr/>
        </p:nvSpPr>
        <p:spPr>
          <a:xfrm>
            <a:off x="441326" y="2276441"/>
            <a:ext cx="5475287" cy="1537528"/>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5080">
              <a:spcAft>
                <a:spcPts val="600"/>
              </a:spcAft>
            </a:pPr>
            <a:r>
              <a:rPr lang="en-GB" sz="1600" err="1">
                <a:latin typeface="Arial"/>
                <a:cs typeface="Arial"/>
              </a:rPr>
              <a:t>Pasākumu</a:t>
            </a:r>
            <a:r>
              <a:rPr lang="en-GB" sz="1600">
                <a:latin typeface="Arial"/>
                <a:cs typeface="Arial"/>
              </a:rPr>
              <a:t> </a:t>
            </a:r>
            <a:r>
              <a:rPr lang="en-GB" sz="1600" err="1">
                <a:latin typeface="Arial"/>
                <a:cs typeface="Arial"/>
              </a:rPr>
              <a:t>kopums</a:t>
            </a:r>
            <a:r>
              <a:rPr lang="en-GB" sz="1600">
                <a:latin typeface="Arial"/>
                <a:cs typeface="Arial"/>
              </a:rPr>
              <a:t>, </a:t>
            </a:r>
            <a:r>
              <a:rPr lang="en-GB" sz="1600" err="1">
                <a:latin typeface="Arial"/>
                <a:cs typeface="Arial"/>
              </a:rPr>
              <a:t>kuri</a:t>
            </a:r>
            <a:r>
              <a:rPr lang="en-GB" sz="1600">
                <a:latin typeface="Arial"/>
                <a:cs typeface="Arial"/>
              </a:rPr>
              <a:t> </a:t>
            </a:r>
            <a:r>
              <a:rPr lang="en-GB" sz="1600" err="1">
                <a:latin typeface="Arial"/>
                <a:cs typeface="Arial"/>
              </a:rPr>
              <a:t>tiek</a:t>
            </a:r>
            <a:r>
              <a:rPr lang="en-GB" sz="1600">
                <a:latin typeface="Arial"/>
                <a:cs typeface="Arial"/>
              </a:rPr>
              <a:t> </a:t>
            </a:r>
            <a:r>
              <a:rPr lang="en-GB" sz="1600" err="1">
                <a:latin typeface="Arial"/>
                <a:cs typeface="Arial"/>
              </a:rPr>
              <a:t>veikti</a:t>
            </a:r>
            <a:r>
              <a:rPr lang="en-GB" sz="1600">
                <a:latin typeface="Arial"/>
                <a:cs typeface="Arial"/>
              </a:rPr>
              <a:t>, </a:t>
            </a:r>
            <a:r>
              <a:rPr lang="en-GB" sz="1600" b="1" err="1">
                <a:latin typeface="Arial"/>
                <a:cs typeface="Arial"/>
              </a:rPr>
              <a:t>lai</a:t>
            </a:r>
            <a:r>
              <a:rPr lang="en-GB" sz="1600" b="1">
                <a:latin typeface="Arial"/>
                <a:cs typeface="Arial"/>
              </a:rPr>
              <a:t> </a:t>
            </a:r>
            <a:r>
              <a:rPr lang="en-GB" sz="1600" b="1" err="1">
                <a:latin typeface="Arial"/>
                <a:cs typeface="Arial"/>
              </a:rPr>
              <a:t>novērstu</a:t>
            </a:r>
            <a:r>
              <a:rPr lang="en-GB" sz="1600" b="1">
                <a:latin typeface="Arial"/>
                <a:cs typeface="Arial"/>
              </a:rPr>
              <a:t> </a:t>
            </a:r>
            <a:r>
              <a:rPr lang="en-GB" sz="1600" b="1" err="1">
                <a:latin typeface="Arial"/>
                <a:cs typeface="Arial"/>
              </a:rPr>
              <a:t>vai</a:t>
            </a:r>
            <a:r>
              <a:rPr lang="en-GB" sz="1600" b="1">
                <a:latin typeface="Arial"/>
                <a:cs typeface="Arial"/>
              </a:rPr>
              <a:t> </a:t>
            </a:r>
            <a:r>
              <a:rPr lang="en-GB" sz="1600" b="1" err="1">
                <a:latin typeface="Arial"/>
                <a:cs typeface="Arial"/>
              </a:rPr>
              <a:t>mazinātu</a:t>
            </a:r>
            <a:r>
              <a:rPr lang="en-GB" sz="1600" b="1">
                <a:latin typeface="Arial"/>
                <a:cs typeface="Arial"/>
              </a:rPr>
              <a:t> </a:t>
            </a:r>
            <a:r>
              <a:rPr lang="en-GB" sz="1600" b="1" err="1">
                <a:latin typeface="Arial"/>
                <a:cs typeface="Arial"/>
              </a:rPr>
              <a:t>katastrofas</a:t>
            </a:r>
            <a:r>
              <a:rPr lang="en-GB" sz="1600" b="1">
                <a:latin typeface="Arial"/>
                <a:cs typeface="Arial"/>
              </a:rPr>
              <a:t> </a:t>
            </a:r>
            <a:r>
              <a:rPr lang="en-GB" sz="1600" b="1" err="1">
                <a:latin typeface="Arial"/>
                <a:cs typeface="Arial"/>
              </a:rPr>
              <a:t>draudus</a:t>
            </a:r>
            <a:r>
              <a:rPr lang="en-GB" sz="1600">
                <a:latin typeface="Arial"/>
                <a:cs typeface="Arial"/>
              </a:rPr>
              <a:t>.</a:t>
            </a:r>
          </a:p>
        </p:txBody>
      </p:sp>
      <p:sp>
        <p:nvSpPr>
          <p:cNvPr id="14" name="Rectangle 13">
            <a:extLst>
              <a:ext uri="{FF2B5EF4-FFF2-40B4-BE49-F238E27FC236}">
                <a16:creationId xmlns:a16="http://schemas.microsoft.com/office/drawing/2014/main" id="{FA1990FA-EC97-595E-AAB2-3DCC16F46A84}"/>
              </a:ext>
            </a:extLst>
          </p:cNvPr>
          <p:cNvSpPr/>
          <p:nvPr/>
        </p:nvSpPr>
        <p:spPr>
          <a:xfrm>
            <a:off x="442913" y="4175919"/>
            <a:ext cx="5475286"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marL="12700" marR="5080">
              <a:spcBef>
                <a:spcPts val="95"/>
              </a:spcBef>
            </a:pPr>
            <a:r>
              <a:rPr lang="en-US" sz="1600" b="1" spc="-10" err="1">
                <a:latin typeface="Arial"/>
                <a:cs typeface="Arial"/>
              </a:rPr>
              <a:t>Piemērs</a:t>
            </a:r>
            <a:r>
              <a:rPr lang="en-US" sz="1600" b="1" spc="-10">
                <a:latin typeface="Arial"/>
                <a:cs typeface="Arial"/>
              </a:rPr>
              <a:t>:</a:t>
            </a:r>
          </a:p>
        </p:txBody>
      </p:sp>
      <p:sp>
        <p:nvSpPr>
          <p:cNvPr id="15" name="TextBox 14">
            <a:extLst>
              <a:ext uri="{FF2B5EF4-FFF2-40B4-BE49-F238E27FC236}">
                <a16:creationId xmlns:a16="http://schemas.microsoft.com/office/drawing/2014/main" id="{788733AE-DB38-248D-9B2E-86E8EDAD0F0D}"/>
              </a:ext>
            </a:extLst>
          </p:cNvPr>
          <p:cNvSpPr txBox="1"/>
          <p:nvPr/>
        </p:nvSpPr>
        <p:spPr>
          <a:xfrm>
            <a:off x="442913" y="4634673"/>
            <a:ext cx="5475287" cy="1537527"/>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98450" marR="5080" indent="-285750">
              <a:spcBef>
                <a:spcPts val="95"/>
              </a:spcBef>
              <a:buFont typeface="Arial" panose="020B0604020202020204" pitchFamily="34" charset="0"/>
              <a:buChar char="•"/>
            </a:pPr>
            <a:r>
              <a:rPr lang="en-US" sz="1600" spc="-10" dirty="0">
                <a:latin typeface="Arial"/>
                <a:cs typeface="Arial"/>
              </a:rPr>
              <a:t>MK </a:t>
            </a:r>
            <a:r>
              <a:rPr lang="en-US" sz="1600" spc="-10" dirty="0" err="1">
                <a:latin typeface="Arial"/>
                <a:cs typeface="Arial"/>
              </a:rPr>
              <a:t>noteikumi</a:t>
            </a:r>
            <a:r>
              <a:rPr lang="en-US" sz="1600" spc="-10" dirty="0">
                <a:latin typeface="Arial"/>
                <a:cs typeface="Arial"/>
              </a:rPr>
              <a:t> "</a:t>
            </a:r>
            <a:r>
              <a:rPr lang="en-US" sz="1600" spc="-10" dirty="0" err="1">
                <a:latin typeface="Arial"/>
                <a:cs typeface="Arial"/>
              </a:rPr>
              <a:t>Noteikumi</a:t>
            </a:r>
            <a:r>
              <a:rPr lang="en-US" sz="1600" spc="-10" dirty="0">
                <a:latin typeface="Arial"/>
                <a:cs typeface="Arial"/>
              </a:rPr>
              <a:t> par </a:t>
            </a:r>
            <a:r>
              <a:rPr lang="en-US" sz="1600" spc="-10" dirty="0" err="1">
                <a:latin typeface="Arial"/>
                <a:cs typeface="Arial"/>
              </a:rPr>
              <a:t>sākotnējo</a:t>
            </a:r>
            <a:r>
              <a:rPr lang="en-US" sz="1600" spc="-10" dirty="0">
                <a:latin typeface="Arial"/>
                <a:cs typeface="Arial"/>
              </a:rPr>
              <a:t>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riska</a:t>
            </a:r>
            <a:r>
              <a:rPr lang="en-US" sz="1600" spc="-10" dirty="0">
                <a:latin typeface="Arial"/>
                <a:cs typeface="Arial"/>
              </a:rPr>
              <a:t> </a:t>
            </a:r>
            <a:r>
              <a:rPr lang="en-US" sz="1600" spc="-10" dirty="0" err="1">
                <a:latin typeface="Arial"/>
                <a:cs typeface="Arial"/>
              </a:rPr>
              <a:t>novērtējumu</a:t>
            </a:r>
            <a:r>
              <a:rPr lang="en-US" sz="1600" spc="-10" dirty="0">
                <a:latin typeface="Arial"/>
                <a:cs typeface="Arial"/>
              </a:rPr>
              <a:t>,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kartēm</a:t>
            </a:r>
            <a:r>
              <a:rPr lang="en-US" sz="1600" spc="-10" dirty="0">
                <a:latin typeface="Arial"/>
                <a:cs typeface="Arial"/>
              </a:rPr>
              <a:t> un </a:t>
            </a:r>
            <a:r>
              <a:rPr lang="en-US" sz="1600" spc="-10" dirty="0" err="1">
                <a:latin typeface="Arial"/>
                <a:cs typeface="Arial"/>
              </a:rPr>
              <a:t>plūdu</a:t>
            </a:r>
            <a:r>
              <a:rPr lang="en-US" sz="1600" spc="-10" dirty="0">
                <a:latin typeface="Arial"/>
                <a:cs typeface="Arial"/>
              </a:rPr>
              <a:t> </a:t>
            </a:r>
            <a:r>
              <a:rPr lang="en-US" sz="1600" spc="-10" dirty="0" err="1">
                <a:latin typeface="Arial"/>
                <a:cs typeface="Arial"/>
              </a:rPr>
              <a:t>riska</a:t>
            </a:r>
            <a:r>
              <a:rPr lang="en-US" sz="1600" spc="-10" dirty="0">
                <a:latin typeface="Arial"/>
                <a:cs typeface="Arial"/>
              </a:rPr>
              <a:t> </a:t>
            </a:r>
            <a:r>
              <a:rPr lang="en-US" sz="1600" spc="-10" dirty="0" err="1">
                <a:latin typeface="Arial"/>
                <a:cs typeface="Arial"/>
              </a:rPr>
              <a:t>pārvaldības</a:t>
            </a:r>
            <a:r>
              <a:rPr lang="en-US" sz="1600" spc="-10" dirty="0">
                <a:latin typeface="Arial"/>
                <a:cs typeface="Arial"/>
              </a:rPr>
              <a:t> </a:t>
            </a:r>
            <a:r>
              <a:rPr lang="en-US" sz="1600" spc="-10" dirty="0" err="1">
                <a:latin typeface="Arial"/>
                <a:cs typeface="Arial"/>
              </a:rPr>
              <a:t>plānu</a:t>
            </a:r>
            <a:r>
              <a:rPr lang="en-US" sz="1600" spc="-10" dirty="0">
                <a:latin typeface="Arial"/>
                <a:cs typeface="Arial"/>
              </a:rPr>
              <a:t>"</a:t>
            </a:r>
            <a:endParaRPr lang="lv-LV" sz="1600" spc="-10" dirty="0">
              <a:latin typeface="Arial"/>
              <a:cs typeface="Arial"/>
            </a:endParaRPr>
          </a:p>
          <a:p>
            <a:pPr marL="298450" marR="5080" indent="-285750">
              <a:spcBef>
                <a:spcPts val="95"/>
              </a:spcBef>
              <a:buFont typeface="Arial" panose="020B0604020202020204" pitchFamily="34" charset="0"/>
              <a:buChar char="•"/>
            </a:pPr>
            <a:r>
              <a:rPr lang="lv-LV" sz="1600" spc="-10" dirty="0">
                <a:latin typeface="Arial"/>
                <a:cs typeface="Arial"/>
              </a:rPr>
              <a:t>Civilās aizsardzības un katastrofas pārvaldīšanas mācības </a:t>
            </a:r>
          </a:p>
          <a:p>
            <a:pPr marL="12700" marR="5080">
              <a:spcBef>
                <a:spcPts val="95"/>
              </a:spcBef>
            </a:pPr>
            <a:endParaRPr lang="en-US" sz="1600" spc="-10" dirty="0">
              <a:latin typeface="Arial"/>
              <a:cs typeface="Arial"/>
            </a:endParaRPr>
          </a:p>
        </p:txBody>
      </p:sp>
      <p:sp>
        <p:nvSpPr>
          <p:cNvPr id="29" name="Slide Number Placeholder 3">
            <a:extLst>
              <a:ext uri="{FF2B5EF4-FFF2-40B4-BE49-F238E27FC236}">
                <a16:creationId xmlns:a16="http://schemas.microsoft.com/office/drawing/2014/main" id="{AD94745E-E935-12AB-AB61-E2E194C64965}"/>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16</a:t>
            </a:fld>
            <a:endParaRPr lang="en-GB"/>
          </a:p>
        </p:txBody>
      </p:sp>
      <p:sp>
        <p:nvSpPr>
          <p:cNvPr id="4" name="Rectangle 3">
            <a:extLst>
              <a:ext uri="{FF2B5EF4-FFF2-40B4-BE49-F238E27FC236}">
                <a16:creationId xmlns:a16="http://schemas.microsoft.com/office/drawing/2014/main" id="{52382577-FE59-1BDD-2A71-6CF0AD5E15A6}"/>
              </a:ext>
            </a:extLst>
          </p:cNvPr>
          <p:cNvSpPr/>
          <p:nvPr/>
        </p:nvSpPr>
        <p:spPr>
          <a:xfrm rot="16200000">
            <a:off x="8977313" y="3400425"/>
            <a:ext cx="71438" cy="54737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5" name="Rectangle 4">
            <a:extLst>
              <a:ext uri="{FF2B5EF4-FFF2-40B4-BE49-F238E27FC236}">
                <a16:creationId xmlns:a16="http://schemas.microsoft.com/office/drawing/2014/main" id="{54BD5656-2DCC-8908-4086-102206D4EB27}"/>
              </a:ext>
            </a:extLst>
          </p:cNvPr>
          <p:cNvSpPr/>
          <p:nvPr/>
        </p:nvSpPr>
        <p:spPr>
          <a:xfrm rot="16200000">
            <a:off x="8977313" y="1043781"/>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nvGrpSpPr>
          <p:cNvPr id="19" name="Group 18">
            <a:extLst>
              <a:ext uri="{FF2B5EF4-FFF2-40B4-BE49-F238E27FC236}">
                <a16:creationId xmlns:a16="http://schemas.microsoft.com/office/drawing/2014/main" id="{92767D81-E940-63C7-B6B2-3EF2B7FCE229}"/>
              </a:ext>
            </a:extLst>
          </p:cNvPr>
          <p:cNvGrpSpPr/>
          <p:nvPr/>
        </p:nvGrpSpPr>
        <p:grpSpPr>
          <a:xfrm>
            <a:off x="9042363" y="126781"/>
            <a:ext cx="2706725" cy="217488"/>
            <a:chOff x="8561592" y="126781"/>
            <a:chExt cx="2706725" cy="217488"/>
          </a:xfrm>
        </p:grpSpPr>
        <p:sp>
          <p:nvSpPr>
            <p:cNvPr id="20" name="Rectangle 19">
              <a:extLst>
                <a:ext uri="{FF2B5EF4-FFF2-40B4-BE49-F238E27FC236}">
                  <a16:creationId xmlns:a16="http://schemas.microsoft.com/office/drawing/2014/main" id="{A4E4E406-8FAB-F6D9-0E1E-1A90367DC459}"/>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C39A0D68-A100-186D-30B5-8CE93BCD56D6}"/>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22" name="Rectangle 21">
              <a:extLst>
                <a:ext uri="{FF2B5EF4-FFF2-40B4-BE49-F238E27FC236}">
                  <a16:creationId xmlns:a16="http://schemas.microsoft.com/office/drawing/2014/main" id="{B331C4A6-971A-2146-3443-52664A642D57}"/>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23" name="Rectangle 22">
              <a:extLst>
                <a:ext uri="{FF2B5EF4-FFF2-40B4-BE49-F238E27FC236}">
                  <a16:creationId xmlns:a16="http://schemas.microsoft.com/office/drawing/2014/main" id="{45EAB866-1E6B-CF15-74E5-E568B469879B}"/>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7" name="Rectangle 6">
            <a:extLst>
              <a:ext uri="{FF2B5EF4-FFF2-40B4-BE49-F238E27FC236}">
                <a16:creationId xmlns:a16="http://schemas.microsoft.com/office/drawing/2014/main" id="{5F8C8F34-FFC8-37BA-971B-45BBD6F4A3C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45307511-A2FC-96C1-6F37-349DA1C74950}"/>
              </a:ext>
            </a:extLst>
          </p:cNvPr>
          <p:cNvPicPr>
            <a:picLocks noGrp="1" noChangeAspect="1"/>
          </p:cNvPicPr>
          <p:nvPr>
            <p:ph type="pic" sz="quarter" idx="10"/>
          </p:nvPr>
        </p:nvPicPr>
        <p:blipFill>
          <a:blip r:embed="rId2"/>
          <a:srcRect t="5885" b="5885"/>
          <a:stretch>
            <a:fillRect/>
          </a:stretch>
        </p:blipFill>
        <p:spPr/>
      </p:pic>
      <p:sp>
        <p:nvSpPr>
          <p:cNvPr id="11" name="Rectangle 10">
            <a:extLst>
              <a:ext uri="{FF2B5EF4-FFF2-40B4-BE49-F238E27FC236}">
                <a16:creationId xmlns:a16="http://schemas.microsoft.com/office/drawing/2014/main" id="{E280259F-F1C3-F603-CC6E-0F67048CE6A5}"/>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C7FCECAF-22AD-72D5-A898-EA731BB55AA1}"/>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pPr>
            <a:r>
              <a:rPr lang="lv-LV" sz="4400">
                <a:latin typeface="+mj-lt"/>
              </a:rPr>
              <a:t>1.3. Ieskats civilās aizsardzības </a:t>
            </a:r>
            <a:endParaRPr lang="en-US" sz="4400">
              <a:latin typeface="+mj-lt"/>
            </a:endParaRPr>
          </a:p>
          <a:p>
            <a:pPr>
              <a:lnSpc>
                <a:spcPct val="90000"/>
              </a:lnSpc>
            </a:pPr>
            <a:r>
              <a:rPr lang="lv-LV" sz="4400">
                <a:latin typeface="+mj-lt"/>
              </a:rPr>
              <a:t>attīstības vēsturē</a:t>
            </a:r>
            <a:endParaRPr lang="en-US" sz="4400">
              <a:latin typeface="+mj-lt"/>
            </a:endParaRPr>
          </a:p>
        </p:txBody>
      </p:sp>
      <p:sp>
        <p:nvSpPr>
          <p:cNvPr id="13" name="Rectangle 12">
            <a:extLst>
              <a:ext uri="{FF2B5EF4-FFF2-40B4-BE49-F238E27FC236}">
                <a16:creationId xmlns:a16="http://schemas.microsoft.com/office/drawing/2014/main" id="{7DC8EE87-6356-90CD-FCF7-D0B04739E2B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414C71C8-8AE4-052B-316C-48931508724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F429F0E4-E26C-7B06-7E25-5A3BE46BD050}"/>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6" name="Rectangle 15">
            <a:extLst>
              <a:ext uri="{FF2B5EF4-FFF2-40B4-BE49-F238E27FC236}">
                <a16:creationId xmlns:a16="http://schemas.microsoft.com/office/drawing/2014/main" id="{9F0FA543-D6B8-7C7F-D52C-319C3D0F16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AAC59966-D2DC-07FC-D76D-B577217727B6}"/>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140825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5AA064D-0D5B-9590-64E9-3065DFB037CD}"/>
              </a:ext>
            </a:extLst>
          </p:cNvPr>
          <p:cNvSpPr txBox="1"/>
          <p:nvPr/>
        </p:nvSpPr>
        <p:spPr>
          <a:xfrm>
            <a:off x="442914" y="1041609"/>
            <a:ext cx="11306174" cy="584775"/>
          </a:xfrm>
          <a:prstGeom prst="rect">
            <a:avLst/>
          </a:prstGeom>
          <a:solidFill>
            <a:srgbClr val="D9D9D9"/>
          </a:solidFill>
        </p:spPr>
        <p:txBody>
          <a:bodyPr wrap="square" lIns="144000">
            <a:spAutoFit/>
          </a:bodyPr>
          <a:lstStyle/>
          <a:p>
            <a:pPr>
              <a:defRPr/>
            </a:pPr>
            <a:r>
              <a:rPr lang="lv-LV" altLang="lv-LV" sz="1600" b="0"/>
              <a:t>Ženēvas Konvencija – </a:t>
            </a:r>
            <a:r>
              <a:rPr lang="lv-LV" altLang="lv-LV" sz="1600" b="0">
                <a:cs typeface="Arial"/>
              </a:rPr>
              <a:t>pirmā starptautiskā vienošanās </a:t>
            </a:r>
            <a:r>
              <a:rPr lang="lv-LV" altLang="lv-LV" sz="1600" b="0"/>
              <a:t>par civilpersonu aizsardzību kara laikā un s</a:t>
            </a:r>
            <a:r>
              <a:rPr lang="en-GB" sz="1600" b="0" err="1">
                <a:cs typeface="Arial"/>
              </a:rPr>
              <a:t>tūrakmens</a:t>
            </a:r>
            <a:r>
              <a:rPr lang="en-GB" sz="1600" b="0">
                <a:cs typeface="Arial"/>
              </a:rPr>
              <a:t> </a:t>
            </a:r>
            <a:r>
              <a:rPr lang="en-GB" sz="1600" b="0" err="1">
                <a:cs typeface="Arial"/>
              </a:rPr>
              <a:t>mūsdienu</a:t>
            </a:r>
            <a:r>
              <a:rPr lang="en-GB" sz="1600" b="0">
                <a:cs typeface="Arial"/>
              </a:rPr>
              <a:t> </a:t>
            </a:r>
            <a:r>
              <a:rPr lang="en-GB" sz="1600" b="0" err="1">
                <a:cs typeface="Arial"/>
              </a:rPr>
              <a:t>starptautiskajiem</a:t>
            </a:r>
            <a:r>
              <a:rPr lang="en-GB" sz="1600" b="0">
                <a:cs typeface="Arial"/>
              </a:rPr>
              <a:t> </a:t>
            </a:r>
            <a:r>
              <a:rPr lang="en-GB" sz="1600" b="0" err="1">
                <a:cs typeface="Arial"/>
              </a:rPr>
              <a:t>cilvē</a:t>
            </a:r>
            <a:r>
              <a:rPr lang="lv-LV" sz="1600" b="0">
                <a:cs typeface="Arial"/>
              </a:rPr>
              <a:t>k</a:t>
            </a:r>
            <a:r>
              <a:rPr lang="en-GB" sz="1600" b="0" err="1">
                <a:cs typeface="Arial"/>
              </a:rPr>
              <a:t>tiesību</a:t>
            </a:r>
            <a:r>
              <a:rPr lang="en-GB" sz="1600" b="0">
                <a:cs typeface="Arial"/>
              </a:rPr>
              <a:t> </a:t>
            </a:r>
            <a:r>
              <a:rPr lang="en-GB" sz="1600" b="0" err="1">
                <a:cs typeface="Arial"/>
              </a:rPr>
              <a:t>likumiem</a:t>
            </a:r>
            <a:r>
              <a:rPr lang="en-GB" sz="1600" b="0">
                <a:cs typeface="Arial"/>
              </a:rPr>
              <a:t>. </a:t>
            </a:r>
            <a:r>
              <a:rPr lang="lv-LV" sz="1600">
                <a:cs typeface="Arial"/>
              </a:rPr>
              <a:t>Tā a</a:t>
            </a:r>
            <a:r>
              <a:rPr lang="en-GB" sz="1600" b="0" err="1">
                <a:cs typeface="Arial"/>
              </a:rPr>
              <a:t>izsargā</a:t>
            </a:r>
            <a:r>
              <a:rPr lang="en-GB" sz="1600" b="0">
                <a:cs typeface="Arial"/>
              </a:rPr>
              <a:t> </a:t>
            </a:r>
            <a:r>
              <a:rPr lang="en-GB" sz="1600" b="0" err="1">
                <a:cs typeface="Arial"/>
              </a:rPr>
              <a:t>civiliedzīvotājus</a:t>
            </a:r>
            <a:r>
              <a:rPr lang="en-GB" sz="1600" b="0">
                <a:cs typeface="Arial"/>
              </a:rPr>
              <a:t>, kas </a:t>
            </a:r>
            <a:r>
              <a:rPr lang="en-GB" sz="1600" b="0" err="1">
                <a:cs typeface="Arial"/>
              </a:rPr>
              <a:t>nonākuši</a:t>
            </a:r>
            <a:r>
              <a:rPr lang="en-GB" sz="1600" b="0">
                <a:cs typeface="Arial"/>
              </a:rPr>
              <a:t> </a:t>
            </a:r>
            <a:r>
              <a:rPr lang="en-GB" sz="1600" b="0" err="1">
                <a:cs typeface="Arial"/>
              </a:rPr>
              <a:t>karadarbības</a:t>
            </a:r>
            <a:r>
              <a:rPr lang="en-GB" sz="1600" b="0">
                <a:cs typeface="Arial"/>
              </a:rPr>
              <a:t> </a:t>
            </a:r>
            <a:r>
              <a:rPr lang="en-GB" sz="1600" b="0" err="1">
                <a:cs typeface="Arial"/>
              </a:rPr>
              <a:t>zonā</a:t>
            </a:r>
            <a:r>
              <a:rPr lang="lv-LV" sz="1600" b="0" dirty="0">
                <a:cs typeface="Arial"/>
              </a:rPr>
              <a:t>,</a:t>
            </a:r>
            <a:r>
              <a:rPr lang="en-GB" sz="1600" b="0">
                <a:cs typeface="Arial"/>
              </a:rPr>
              <a:t> un </a:t>
            </a:r>
            <a:r>
              <a:rPr lang="en-GB" sz="1600" b="0" err="1">
                <a:cs typeface="Arial"/>
              </a:rPr>
              <a:t>gūstekņus</a:t>
            </a:r>
            <a:r>
              <a:rPr lang="lv-LV" sz="1600" b="0">
                <a:cs typeface="Arial"/>
              </a:rPr>
              <a:t>.</a:t>
            </a:r>
            <a:endParaRPr lang="lv-LV" sz="1600">
              <a:cs typeface="Arial"/>
            </a:endParaRPr>
          </a:p>
        </p:txBody>
      </p:sp>
      <p:sp>
        <p:nvSpPr>
          <p:cNvPr id="12" name="Title 11">
            <a:extLst>
              <a:ext uri="{FF2B5EF4-FFF2-40B4-BE49-F238E27FC236}">
                <a16:creationId xmlns:a16="http://schemas.microsoft.com/office/drawing/2014/main" id="{FA1E144E-622E-AEA5-58B9-1F162FB899D5}"/>
              </a:ext>
            </a:extLst>
          </p:cNvPr>
          <p:cNvSpPr>
            <a:spLocks noGrp="1"/>
          </p:cNvSpPr>
          <p:nvPr>
            <p:ph type="title"/>
          </p:nvPr>
        </p:nvSpPr>
        <p:spPr>
          <a:xfrm>
            <a:off x="442913" y="432001"/>
            <a:ext cx="11306175" cy="456008"/>
          </a:xfrm>
        </p:spPr>
        <p:txBody>
          <a:bodyPr vert="horz">
            <a:normAutofit/>
          </a:bodyPr>
          <a:lstStyle/>
          <a:p>
            <a:r>
              <a:rPr lang="lv-LV"/>
              <a:t>Ženēvas konvencijas attīstība un nozīme civilajā aizsardzībā</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8</a:t>
            </a:fld>
            <a:endParaRPr lang="en-GB"/>
          </a:p>
        </p:txBody>
      </p:sp>
      <p:sp>
        <p:nvSpPr>
          <p:cNvPr id="36" name="Rectangle 35">
            <a:extLst>
              <a:ext uri="{FF2B5EF4-FFF2-40B4-BE49-F238E27FC236}">
                <a16:creationId xmlns:a16="http://schemas.microsoft.com/office/drawing/2014/main" id="{BC22DAC9-A191-687A-B091-BE1921ECCB53}"/>
              </a:ext>
            </a:extLst>
          </p:cNvPr>
          <p:cNvSpPr/>
          <p:nvPr/>
        </p:nvSpPr>
        <p:spPr>
          <a:xfrm>
            <a:off x="442913"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864 – </a:t>
            </a:r>
            <a:r>
              <a:rPr lang="lv-LV" sz="1600" b="1">
                <a:solidFill>
                  <a:schemeClr val="bg1"/>
                </a:solidFill>
              </a:rPr>
              <a:t>Ženēva</a:t>
            </a:r>
            <a:endParaRPr lang="en-US" sz="1600" b="1">
              <a:solidFill>
                <a:schemeClr val="bg1"/>
              </a:solidFill>
            </a:endParaRPr>
          </a:p>
        </p:txBody>
      </p:sp>
      <p:sp>
        <p:nvSpPr>
          <p:cNvPr id="37" name="Rectangle 36">
            <a:extLst>
              <a:ext uri="{FF2B5EF4-FFF2-40B4-BE49-F238E27FC236}">
                <a16:creationId xmlns:a16="http://schemas.microsoft.com/office/drawing/2014/main" id="{6B281342-EC65-650D-7525-D494B2C35B18}"/>
              </a:ext>
            </a:extLst>
          </p:cNvPr>
          <p:cNvSpPr/>
          <p:nvPr/>
        </p:nvSpPr>
        <p:spPr>
          <a:xfrm>
            <a:off x="2764235"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899 – </a:t>
            </a:r>
            <a:r>
              <a:rPr lang="lv-LV" sz="1600" b="1">
                <a:solidFill>
                  <a:schemeClr val="bg1"/>
                </a:solidFill>
              </a:rPr>
              <a:t>Hāga</a:t>
            </a:r>
            <a:endParaRPr lang="en-US" sz="1600" b="1">
              <a:solidFill>
                <a:schemeClr val="bg1"/>
              </a:solidFill>
            </a:endParaRPr>
          </a:p>
        </p:txBody>
      </p:sp>
      <p:sp>
        <p:nvSpPr>
          <p:cNvPr id="38" name="Rectangle 37">
            <a:extLst>
              <a:ext uri="{FF2B5EF4-FFF2-40B4-BE49-F238E27FC236}">
                <a16:creationId xmlns:a16="http://schemas.microsoft.com/office/drawing/2014/main" id="{86EF790A-F307-EAD3-DC28-8B286217FC44}"/>
              </a:ext>
            </a:extLst>
          </p:cNvPr>
          <p:cNvSpPr/>
          <p:nvPr/>
        </p:nvSpPr>
        <p:spPr>
          <a:xfrm>
            <a:off x="5085557" y="1819275"/>
            <a:ext cx="2020888" cy="63784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en-US" sz="1600" b="1">
                <a:solidFill>
                  <a:schemeClr val="bg1"/>
                </a:solidFill>
              </a:rPr>
              <a:t>1906 – </a:t>
            </a:r>
            <a:r>
              <a:rPr lang="lv-LV" sz="1600" b="1">
                <a:solidFill>
                  <a:schemeClr val="bg1"/>
                </a:solidFill>
              </a:rPr>
              <a:t>Ženēva</a:t>
            </a:r>
            <a:br>
              <a:rPr lang="en-US" sz="1600" b="1">
                <a:solidFill>
                  <a:schemeClr val="bg1"/>
                </a:solidFill>
              </a:rPr>
            </a:br>
            <a:r>
              <a:rPr lang="en-US" sz="1600" b="1">
                <a:solidFill>
                  <a:schemeClr val="bg1"/>
                </a:solidFill>
              </a:rPr>
              <a:t>1907 – </a:t>
            </a:r>
            <a:r>
              <a:rPr lang="lv-LV" sz="1600" b="1">
                <a:solidFill>
                  <a:schemeClr val="bg1"/>
                </a:solidFill>
              </a:rPr>
              <a:t>Hāga</a:t>
            </a:r>
            <a:endParaRPr lang="en-US" sz="1600" b="1">
              <a:solidFill>
                <a:schemeClr val="bg1"/>
              </a:solidFill>
            </a:endParaRPr>
          </a:p>
        </p:txBody>
      </p:sp>
      <p:sp>
        <p:nvSpPr>
          <p:cNvPr id="39" name="Rectangle 38">
            <a:extLst>
              <a:ext uri="{FF2B5EF4-FFF2-40B4-BE49-F238E27FC236}">
                <a16:creationId xmlns:a16="http://schemas.microsoft.com/office/drawing/2014/main" id="{66E30A6C-6622-0688-1302-1635E9D1DA4C}"/>
              </a:ext>
            </a:extLst>
          </p:cNvPr>
          <p:cNvSpPr/>
          <p:nvPr/>
        </p:nvSpPr>
        <p:spPr>
          <a:xfrm>
            <a:off x="7406879"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929 – </a:t>
            </a:r>
            <a:r>
              <a:rPr lang="lv-LV" sz="1600" b="1">
                <a:solidFill>
                  <a:schemeClr val="bg1"/>
                </a:solidFill>
              </a:rPr>
              <a:t>Ženēva</a:t>
            </a:r>
            <a:endParaRPr lang="en-US" sz="1600" b="1">
              <a:solidFill>
                <a:schemeClr val="bg1"/>
              </a:solidFill>
            </a:endParaRPr>
          </a:p>
        </p:txBody>
      </p:sp>
      <p:sp>
        <p:nvSpPr>
          <p:cNvPr id="40" name="Rectangle 39">
            <a:extLst>
              <a:ext uri="{FF2B5EF4-FFF2-40B4-BE49-F238E27FC236}">
                <a16:creationId xmlns:a16="http://schemas.microsoft.com/office/drawing/2014/main" id="{38FE3094-5D09-1DE7-75A0-AC52CB3554F2}"/>
              </a:ext>
            </a:extLst>
          </p:cNvPr>
          <p:cNvSpPr/>
          <p:nvPr/>
        </p:nvSpPr>
        <p:spPr>
          <a:xfrm>
            <a:off x="9728201" y="1819275"/>
            <a:ext cx="2020888"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a:solidFill>
                  <a:schemeClr val="bg1"/>
                </a:solidFill>
              </a:rPr>
              <a:t>1949 – </a:t>
            </a:r>
            <a:r>
              <a:rPr lang="lv-LV" sz="1600" b="1">
                <a:solidFill>
                  <a:schemeClr val="bg1"/>
                </a:solidFill>
              </a:rPr>
              <a:t>Ženēva</a:t>
            </a:r>
            <a:endParaRPr lang="en-US" sz="1600" b="1">
              <a:solidFill>
                <a:schemeClr val="bg1"/>
              </a:solidFill>
            </a:endParaRPr>
          </a:p>
        </p:txBody>
      </p:sp>
      <p:sp>
        <p:nvSpPr>
          <p:cNvPr id="41" name="Rectangle 40">
            <a:extLst>
              <a:ext uri="{FF2B5EF4-FFF2-40B4-BE49-F238E27FC236}">
                <a16:creationId xmlns:a16="http://schemas.microsoft.com/office/drawing/2014/main" id="{D5835069-EE61-0052-5F0E-5A09C093BB3B}"/>
              </a:ext>
            </a:extLst>
          </p:cNvPr>
          <p:cNvSpPr/>
          <p:nvPr/>
        </p:nvSpPr>
        <p:spPr>
          <a:xfrm>
            <a:off x="442913" y="2750705"/>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lv-LV" sz="1600" b="1">
                <a:solidFill>
                  <a:schemeClr val="tx1"/>
                </a:solidFill>
              </a:rPr>
              <a:t>Pirmā Ženēvas konvencija</a:t>
            </a:r>
            <a:endParaRPr lang="en-US" sz="1600" b="1">
              <a:solidFill>
                <a:schemeClr val="tx1"/>
              </a:solidFill>
            </a:endParaRPr>
          </a:p>
        </p:txBody>
      </p:sp>
      <p:sp>
        <p:nvSpPr>
          <p:cNvPr id="42" name="Rectangle 41">
            <a:extLst>
              <a:ext uri="{FF2B5EF4-FFF2-40B4-BE49-F238E27FC236}">
                <a16:creationId xmlns:a16="http://schemas.microsoft.com/office/drawing/2014/main" id="{15552FD8-1866-D9CD-A83D-1A49338A10B0}"/>
              </a:ext>
            </a:extLst>
          </p:cNvPr>
          <p:cNvSpPr/>
          <p:nvPr/>
        </p:nvSpPr>
        <p:spPr>
          <a:xfrm>
            <a:off x="5085557"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Grozījumi</a:t>
            </a:r>
            <a:endParaRPr lang="en-US" sz="1600" b="1">
              <a:solidFill>
                <a:schemeClr val="tx1"/>
              </a:solidFill>
            </a:endParaRPr>
          </a:p>
        </p:txBody>
      </p:sp>
      <p:sp>
        <p:nvSpPr>
          <p:cNvPr id="43" name="Rectangle 42">
            <a:extLst>
              <a:ext uri="{FF2B5EF4-FFF2-40B4-BE49-F238E27FC236}">
                <a16:creationId xmlns:a16="http://schemas.microsoft.com/office/drawing/2014/main" id="{4FA1B344-F9AE-A7F5-2A5B-AE981704C0B0}"/>
              </a:ext>
            </a:extLst>
          </p:cNvPr>
          <p:cNvSpPr/>
          <p:nvPr/>
        </p:nvSpPr>
        <p:spPr>
          <a:xfrm>
            <a:off x="7406879" y="2750705"/>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Grozījumi</a:t>
            </a:r>
            <a:endParaRPr lang="en-US" sz="1600" b="1">
              <a:solidFill>
                <a:schemeClr val="tx1"/>
              </a:solidFill>
            </a:endParaRPr>
          </a:p>
        </p:txBody>
      </p:sp>
      <p:sp>
        <p:nvSpPr>
          <p:cNvPr id="44" name="Rectangle 43">
            <a:extLst>
              <a:ext uri="{FF2B5EF4-FFF2-40B4-BE49-F238E27FC236}">
                <a16:creationId xmlns:a16="http://schemas.microsoft.com/office/drawing/2014/main" id="{278F5ECE-763D-7CAA-4EC2-118226A157DB}"/>
              </a:ext>
            </a:extLst>
          </p:cNvPr>
          <p:cNvSpPr/>
          <p:nvPr/>
        </p:nvSpPr>
        <p:spPr>
          <a:xfrm>
            <a:off x="9728201" y="2750705"/>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dirty="0">
                <a:solidFill>
                  <a:srgbClr val="A8192D"/>
                </a:solidFill>
              </a:rPr>
              <a:t>Ženēvas konvencija I</a:t>
            </a:r>
            <a:endParaRPr lang="en-US" sz="1600" b="1" dirty="0">
              <a:solidFill>
                <a:srgbClr val="A8192D"/>
              </a:solidFill>
            </a:endParaRPr>
          </a:p>
        </p:txBody>
      </p:sp>
      <p:sp>
        <p:nvSpPr>
          <p:cNvPr id="45" name="Rectangle 44">
            <a:extLst>
              <a:ext uri="{FF2B5EF4-FFF2-40B4-BE49-F238E27FC236}">
                <a16:creationId xmlns:a16="http://schemas.microsoft.com/office/drawing/2014/main" id="{AB6256F9-10D7-BA78-1B00-B837BD0230CC}"/>
              </a:ext>
            </a:extLst>
          </p:cNvPr>
          <p:cNvSpPr/>
          <p:nvPr/>
        </p:nvSpPr>
        <p:spPr>
          <a:xfrm>
            <a:off x="2764235"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II </a:t>
            </a:r>
          </a:p>
        </p:txBody>
      </p:sp>
      <p:sp>
        <p:nvSpPr>
          <p:cNvPr id="46" name="Rectangle 45">
            <a:extLst>
              <a:ext uri="{FF2B5EF4-FFF2-40B4-BE49-F238E27FC236}">
                <a16:creationId xmlns:a16="http://schemas.microsoft.com/office/drawing/2014/main" id="{14BA0BD5-4126-D045-EF06-290E2DC091B8}"/>
              </a:ext>
            </a:extLst>
          </p:cNvPr>
          <p:cNvSpPr/>
          <p:nvPr/>
        </p:nvSpPr>
        <p:spPr>
          <a:xfrm>
            <a:off x="5085557"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X</a:t>
            </a:r>
          </a:p>
        </p:txBody>
      </p:sp>
      <p:sp>
        <p:nvSpPr>
          <p:cNvPr id="47" name="Rectangle 46">
            <a:extLst>
              <a:ext uri="{FF2B5EF4-FFF2-40B4-BE49-F238E27FC236}">
                <a16:creationId xmlns:a16="http://schemas.microsoft.com/office/drawing/2014/main" id="{5FBAAD66-3B6B-71E1-70EB-2987FB319B0D}"/>
              </a:ext>
            </a:extLst>
          </p:cNvPr>
          <p:cNvSpPr/>
          <p:nvPr/>
        </p:nvSpPr>
        <p:spPr>
          <a:xfrm>
            <a:off x="9728201" y="3681809"/>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rgbClr val="A8192D"/>
                </a:solidFill>
              </a:rPr>
              <a:t>Jaunā Ženēvas konvencija II</a:t>
            </a:r>
            <a:endParaRPr lang="en-US" sz="1600" b="1">
              <a:solidFill>
                <a:srgbClr val="A8192D"/>
              </a:solidFill>
            </a:endParaRPr>
          </a:p>
        </p:txBody>
      </p:sp>
      <p:sp>
        <p:nvSpPr>
          <p:cNvPr id="48" name="Rectangle 47">
            <a:extLst>
              <a:ext uri="{FF2B5EF4-FFF2-40B4-BE49-F238E27FC236}">
                <a16:creationId xmlns:a16="http://schemas.microsoft.com/office/drawing/2014/main" id="{09EEDE19-2C05-BF41-0D02-28C58EF6946D}"/>
              </a:ext>
            </a:extLst>
          </p:cNvPr>
          <p:cNvSpPr/>
          <p:nvPr/>
        </p:nvSpPr>
        <p:spPr>
          <a:xfrm>
            <a:off x="2764235" y="4280694"/>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P</a:t>
            </a:r>
            <a:r>
              <a:rPr lang="en-US" sz="1000" spc="-30" err="1">
                <a:solidFill>
                  <a:schemeClr val="bg1"/>
                </a:solidFill>
              </a:rPr>
              <a:t>ar</a:t>
            </a:r>
            <a:r>
              <a:rPr lang="en-US" sz="1000" spc="-30">
                <a:solidFill>
                  <a:schemeClr val="bg1"/>
                </a:solidFill>
              </a:rPr>
              <a:t> 1864. gada </a:t>
            </a:r>
            <a:r>
              <a:rPr lang="en-US" sz="1000" spc="-30" err="1">
                <a:solidFill>
                  <a:schemeClr val="bg1"/>
                </a:solidFill>
              </a:rPr>
              <a:t>Ženēvas</a:t>
            </a:r>
            <a:r>
              <a:rPr lang="en-US" sz="1000" spc="-30">
                <a:solidFill>
                  <a:schemeClr val="bg1"/>
                </a:solidFill>
              </a:rPr>
              <a:t> </a:t>
            </a:r>
            <a:r>
              <a:rPr lang="en-US" sz="1000" spc="-30" err="1">
                <a:solidFill>
                  <a:schemeClr val="bg1"/>
                </a:solidFill>
              </a:rPr>
              <a:t>konvencijas</a:t>
            </a:r>
            <a:r>
              <a:rPr lang="en-US" sz="1000" spc="-30">
                <a:solidFill>
                  <a:schemeClr val="bg1"/>
                </a:solidFill>
              </a:rPr>
              <a:t> </a:t>
            </a:r>
            <a:r>
              <a:rPr lang="en-US" sz="1000" spc="-30" err="1">
                <a:solidFill>
                  <a:schemeClr val="bg1"/>
                </a:solidFill>
              </a:rPr>
              <a:t>principu</a:t>
            </a:r>
            <a:r>
              <a:rPr lang="en-US" sz="1000" spc="-30">
                <a:solidFill>
                  <a:schemeClr val="bg1"/>
                </a:solidFill>
              </a:rPr>
              <a:t> </a:t>
            </a:r>
            <a:r>
              <a:rPr lang="en-US" sz="1000" spc="-30" err="1">
                <a:solidFill>
                  <a:schemeClr val="bg1"/>
                </a:solidFill>
              </a:rPr>
              <a:t>piemērošanu</a:t>
            </a:r>
            <a:r>
              <a:rPr lang="en-US" sz="1000" spc="-30">
                <a:solidFill>
                  <a:schemeClr val="bg1"/>
                </a:solidFill>
              </a:rPr>
              <a:t> </a:t>
            </a:r>
            <a:r>
              <a:rPr lang="en-US" sz="1000" spc="-30" err="1">
                <a:solidFill>
                  <a:schemeClr val="bg1"/>
                </a:solidFill>
              </a:rPr>
              <a:t>jūras</a:t>
            </a:r>
            <a:r>
              <a:rPr lang="en-US" sz="1000" spc="-30">
                <a:solidFill>
                  <a:schemeClr val="bg1"/>
                </a:solidFill>
              </a:rPr>
              <a:t> </a:t>
            </a:r>
            <a:r>
              <a:rPr lang="en-US" sz="1000" spc="-30" err="1">
                <a:solidFill>
                  <a:schemeClr val="bg1"/>
                </a:solidFill>
              </a:rPr>
              <a:t>karā</a:t>
            </a:r>
            <a:endParaRPr lang="en-US" sz="1000" spc="-30">
              <a:solidFill>
                <a:schemeClr val="bg1"/>
              </a:solidFill>
            </a:endParaRPr>
          </a:p>
        </p:txBody>
      </p:sp>
      <p:sp>
        <p:nvSpPr>
          <p:cNvPr id="49" name="Rectangle 48">
            <a:extLst>
              <a:ext uri="{FF2B5EF4-FFF2-40B4-BE49-F238E27FC236}">
                <a16:creationId xmlns:a16="http://schemas.microsoft.com/office/drawing/2014/main" id="{C9EF863B-9D62-1682-4618-E09523DA418E}"/>
              </a:ext>
            </a:extLst>
          </p:cNvPr>
          <p:cNvSpPr/>
          <p:nvPr/>
        </p:nvSpPr>
        <p:spPr>
          <a:xfrm>
            <a:off x="5085557" y="4280694"/>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P</a:t>
            </a:r>
            <a:r>
              <a:rPr lang="en-US" sz="1000" spc="-30" err="1">
                <a:solidFill>
                  <a:schemeClr val="bg1"/>
                </a:solidFill>
              </a:rPr>
              <a:t>ar</a:t>
            </a:r>
            <a:r>
              <a:rPr lang="en-US" sz="1000" spc="-30">
                <a:solidFill>
                  <a:schemeClr val="bg1"/>
                </a:solidFill>
              </a:rPr>
              <a:t> 1</a:t>
            </a:r>
            <a:r>
              <a:rPr lang="lv-LV" sz="1000" spc="-30">
                <a:solidFill>
                  <a:schemeClr val="bg1"/>
                </a:solidFill>
              </a:rPr>
              <a:t>906</a:t>
            </a:r>
            <a:r>
              <a:rPr lang="en-US" sz="1000" spc="-30">
                <a:solidFill>
                  <a:schemeClr val="bg1"/>
                </a:solidFill>
              </a:rPr>
              <a:t>. gada </a:t>
            </a:r>
            <a:r>
              <a:rPr lang="en-US" sz="1000" spc="-30" err="1">
                <a:solidFill>
                  <a:schemeClr val="bg1"/>
                </a:solidFill>
              </a:rPr>
              <a:t>Ženēvas</a:t>
            </a:r>
            <a:r>
              <a:rPr lang="en-US" sz="1000" spc="-30">
                <a:solidFill>
                  <a:schemeClr val="bg1"/>
                </a:solidFill>
              </a:rPr>
              <a:t> </a:t>
            </a:r>
            <a:r>
              <a:rPr lang="en-US" sz="1000" spc="-30" err="1">
                <a:solidFill>
                  <a:schemeClr val="bg1"/>
                </a:solidFill>
              </a:rPr>
              <a:t>konvencijas</a:t>
            </a:r>
            <a:r>
              <a:rPr lang="en-US" sz="1000" spc="-30">
                <a:solidFill>
                  <a:schemeClr val="bg1"/>
                </a:solidFill>
              </a:rPr>
              <a:t> </a:t>
            </a:r>
            <a:r>
              <a:rPr lang="en-US" sz="1000" spc="-30" err="1">
                <a:solidFill>
                  <a:schemeClr val="bg1"/>
                </a:solidFill>
              </a:rPr>
              <a:t>principu</a:t>
            </a:r>
            <a:r>
              <a:rPr lang="en-US" sz="1000" spc="-30">
                <a:solidFill>
                  <a:schemeClr val="bg1"/>
                </a:solidFill>
              </a:rPr>
              <a:t> </a:t>
            </a:r>
            <a:r>
              <a:rPr lang="en-US" sz="1000" spc="-30" err="1">
                <a:solidFill>
                  <a:schemeClr val="bg1"/>
                </a:solidFill>
              </a:rPr>
              <a:t>piemērošanu</a:t>
            </a:r>
            <a:r>
              <a:rPr lang="en-US" sz="1000" spc="-30">
                <a:solidFill>
                  <a:schemeClr val="bg1"/>
                </a:solidFill>
              </a:rPr>
              <a:t> </a:t>
            </a:r>
            <a:r>
              <a:rPr lang="en-US" sz="1000" spc="-30" err="1">
                <a:solidFill>
                  <a:schemeClr val="bg1"/>
                </a:solidFill>
              </a:rPr>
              <a:t>jūras</a:t>
            </a:r>
            <a:r>
              <a:rPr lang="en-US" sz="1000" spc="-30">
                <a:solidFill>
                  <a:schemeClr val="bg1"/>
                </a:solidFill>
              </a:rPr>
              <a:t> </a:t>
            </a:r>
            <a:r>
              <a:rPr lang="en-US" sz="1000" spc="-30" err="1">
                <a:solidFill>
                  <a:schemeClr val="bg1"/>
                </a:solidFill>
              </a:rPr>
              <a:t>karā</a:t>
            </a:r>
            <a:endParaRPr lang="en-US" sz="1000" spc="-30">
              <a:solidFill>
                <a:schemeClr val="bg1"/>
              </a:solidFill>
            </a:endParaRPr>
          </a:p>
        </p:txBody>
      </p:sp>
      <p:sp>
        <p:nvSpPr>
          <p:cNvPr id="51" name="Rectangle 50">
            <a:extLst>
              <a:ext uri="{FF2B5EF4-FFF2-40B4-BE49-F238E27FC236}">
                <a16:creationId xmlns:a16="http://schemas.microsoft.com/office/drawing/2014/main" id="{535A75D8-C382-F3D1-45C5-732316359284}"/>
              </a:ext>
            </a:extLst>
          </p:cNvPr>
          <p:cNvSpPr/>
          <p:nvPr/>
        </p:nvSpPr>
        <p:spPr>
          <a:xfrm>
            <a:off x="9728201" y="4613239"/>
            <a:ext cx="2020886"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rgbClr val="A8192D"/>
                </a:solidFill>
              </a:rPr>
              <a:t>Ženēvas konvencija III</a:t>
            </a:r>
            <a:endParaRPr lang="en-US" sz="1600" b="1">
              <a:solidFill>
                <a:srgbClr val="A8192D"/>
              </a:solidFill>
            </a:endParaRPr>
          </a:p>
        </p:txBody>
      </p:sp>
      <p:sp>
        <p:nvSpPr>
          <p:cNvPr id="52" name="Rectangle 51">
            <a:extLst>
              <a:ext uri="{FF2B5EF4-FFF2-40B4-BE49-F238E27FC236}">
                <a16:creationId xmlns:a16="http://schemas.microsoft.com/office/drawing/2014/main" id="{F30C4DF9-C50F-8D78-02FE-97550790B924}"/>
              </a:ext>
            </a:extLst>
          </p:cNvPr>
          <p:cNvSpPr/>
          <p:nvPr/>
        </p:nvSpPr>
        <p:spPr>
          <a:xfrm>
            <a:off x="9728201" y="5544344"/>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rgbClr val="A8192D"/>
                </a:solidFill>
              </a:rPr>
              <a:t>Jaunā Ženēvas konvencija IV</a:t>
            </a:r>
            <a:endParaRPr lang="en-US" sz="1600" b="1">
              <a:solidFill>
                <a:srgbClr val="A8192D"/>
              </a:solidFill>
            </a:endParaRPr>
          </a:p>
        </p:txBody>
      </p:sp>
      <p:sp>
        <p:nvSpPr>
          <p:cNvPr id="53" name="Rectangle 52">
            <a:extLst>
              <a:ext uri="{FF2B5EF4-FFF2-40B4-BE49-F238E27FC236}">
                <a16:creationId xmlns:a16="http://schemas.microsoft.com/office/drawing/2014/main" id="{FBCA46BB-7F89-38D7-7988-C4CBAEB41635}"/>
              </a:ext>
            </a:extLst>
          </p:cNvPr>
          <p:cNvSpPr/>
          <p:nvPr/>
        </p:nvSpPr>
        <p:spPr>
          <a:xfrm>
            <a:off x="7406879" y="4613239"/>
            <a:ext cx="2020888" cy="637849"/>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pPr algn="ctr">
              <a:lnSpc>
                <a:spcPct val="100000"/>
              </a:lnSpc>
            </a:pPr>
            <a:r>
              <a:rPr lang="lv-LV" sz="1600" b="1">
                <a:solidFill>
                  <a:schemeClr val="tx1"/>
                </a:solidFill>
              </a:rPr>
              <a:t>Otrā Ženēvas konvencija</a:t>
            </a:r>
            <a:endParaRPr lang="en-US" sz="1600" b="1">
              <a:solidFill>
                <a:schemeClr val="tx1"/>
              </a:solidFill>
            </a:endParaRPr>
          </a:p>
        </p:txBody>
      </p:sp>
      <p:sp>
        <p:nvSpPr>
          <p:cNvPr id="54" name="Rectangle 53">
            <a:extLst>
              <a:ext uri="{FF2B5EF4-FFF2-40B4-BE49-F238E27FC236}">
                <a16:creationId xmlns:a16="http://schemas.microsoft.com/office/drawing/2014/main" id="{18D3F35D-924A-8E5E-0053-0B6E66ABE635}"/>
              </a:ext>
            </a:extLst>
          </p:cNvPr>
          <p:cNvSpPr/>
          <p:nvPr/>
        </p:nvSpPr>
        <p:spPr>
          <a:xfrm>
            <a:off x="2764235"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I</a:t>
            </a:r>
          </a:p>
        </p:txBody>
      </p:sp>
      <p:sp>
        <p:nvSpPr>
          <p:cNvPr id="55" name="Rectangle 54">
            <a:extLst>
              <a:ext uri="{FF2B5EF4-FFF2-40B4-BE49-F238E27FC236}">
                <a16:creationId xmlns:a16="http://schemas.microsoft.com/office/drawing/2014/main" id="{EC9D179E-4A0E-D59C-2CAC-A4D9B583B13F}"/>
              </a:ext>
            </a:extLst>
          </p:cNvPr>
          <p:cNvSpPr/>
          <p:nvPr/>
        </p:nvSpPr>
        <p:spPr>
          <a:xfrm>
            <a:off x="5085557" y="4932163"/>
            <a:ext cx="2020888" cy="63817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600" b="1">
                <a:solidFill>
                  <a:schemeClr val="tx1"/>
                </a:solidFill>
              </a:rPr>
              <a:t>Hāgas konvencija </a:t>
            </a:r>
            <a:r>
              <a:rPr lang="en-US" sz="1600" b="1">
                <a:solidFill>
                  <a:schemeClr val="tx1"/>
                </a:solidFill>
              </a:rPr>
              <a:t>IV</a:t>
            </a:r>
          </a:p>
        </p:txBody>
      </p:sp>
      <p:sp>
        <p:nvSpPr>
          <p:cNvPr id="56" name="Rectangle 55">
            <a:extLst>
              <a:ext uri="{FF2B5EF4-FFF2-40B4-BE49-F238E27FC236}">
                <a16:creationId xmlns:a16="http://schemas.microsoft.com/office/drawing/2014/main" id="{FC55B670-2143-5B78-C14E-A1DE58C4F073}"/>
              </a:ext>
            </a:extLst>
          </p:cNvPr>
          <p:cNvSpPr/>
          <p:nvPr/>
        </p:nvSpPr>
        <p:spPr>
          <a:xfrm>
            <a:off x="2764235"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000">
                <a:solidFill>
                  <a:schemeClr val="bg1"/>
                </a:solidFill>
              </a:rPr>
              <a:t>Par karagūstekņiem un civiliedzīvotājiem</a:t>
            </a:r>
            <a:endParaRPr lang="en-US" sz="1000">
              <a:solidFill>
                <a:schemeClr val="bg1"/>
              </a:solidFill>
            </a:endParaRPr>
          </a:p>
        </p:txBody>
      </p:sp>
      <p:sp>
        <p:nvSpPr>
          <p:cNvPr id="58" name="Rectangle 57">
            <a:extLst>
              <a:ext uri="{FF2B5EF4-FFF2-40B4-BE49-F238E27FC236}">
                <a16:creationId xmlns:a16="http://schemas.microsoft.com/office/drawing/2014/main" id="{A65663CD-BBDE-5AF5-F744-0082A11E76F6}"/>
              </a:ext>
            </a:extLst>
          </p:cNvPr>
          <p:cNvSpPr/>
          <p:nvPr/>
        </p:nvSpPr>
        <p:spPr>
          <a:xfrm>
            <a:off x="5085557" y="5531047"/>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gn="ctr">
              <a:lnSpc>
                <a:spcPct val="100000"/>
              </a:lnSpc>
            </a:pPr>
            <a:r>
              <a:rPr lang="lv-LV" sz="1000">
                <a:solidFill>
                  <a:schemeClr val="bg1"/>
                </a:solidFill>
              </a:rPr>
              <a:t>Par karagūstekņiem un civiliedzīvotājiem</a:t>
            </a:r>
            <a:endParaRPr lang="en-US" sz="1000">
              <a:solidFill>
                <a:schemeClr val="bg1"/>
              </a:solidFill>
            </a:endParaRPr>
          </a:p>
        </p:txBody>
      </p:sp>
      <p:cxnSp>
        <p:nvCxnSpPr>
          <p:cNvPr id="60" name="Straight Connector 59">
            <a:extLst>
              <a:ext uri="{FF2B5EF4-FFF2-40B4-BE49-F238E27FC236}">
                <a16:creationId xmlns:a16="http://schemas.microsoft.com/office/drawing/2014/main" id="{2B428B7C-B026-E46A-B6FE-403A18241B2E}"/>
              </a:ext>
            </a:extLst>
          </p:cNvPr>
          <p:cNvCxnSpPr>
            <a:stCxn id="41" idx="3"/>
            <a:endCxn id="42" idx="1"/>
          </p:cNvCxnSpPr>
          <p:nvPr/>
        </p:nvCxnSpPr>
        <p:spPr>
          <a:xfrm flipV="1">
            <a:off x="2463801" y="3069630"/>
            <a:ext cx="2621756" cy="16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E2B957DE-FBB5-2796-D3C7-CA3EB7C6F4F0}"/>
              </a:ext>
            </a:extLst>
          </p:cNvPr>
          <p:cNvCxnSpPr>
            <a:stCxn id="45" idx="0"/>
          </p:cNvCxnSpPr>
          <p:nvPr/>
        </p:nvCxnSpPr>
        <p:spPr>
          <a:xfrm flipH="1" flipV="1">
            <a:off x="3774440" y="3069793"/>
            <a:ext cx="239" cy="612016"/>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442486D6-3ECC-F9B3-A86A-43A48774AC7F}"/>
              </a:ext>
            </a:extLst>
          </p:cNvPr>
          <p:cNvCxnSpPr>
            <a:stCxn id="42" idx="3"/>
            <a:endCxn id="43" idx="1"/>
          </p:cNvCxnSpPr>
          <p:nvPr/>
        </p:nvCxnSpPr>
        <p:spPr>
          <a:xfrm>
            <a:off x="7106445"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3" name="Straight Connector 72">
            <a:extLst>
              <a:ext uri="{FF2B5EF4-FFF2-40B4-BE49-F238E27FC236}">
                <a16:creationId xmlns:a16="http://schemas.microsoft.com/office/drawing/2014/main" id="{89F629DC-C8B5-85D5-0D37-E83F905E26BC}"/>
              </a:ext>
            </a:extLst>
          </p:cNvPr>
          <p:cNvCxnSpPr>
            <a:stCxn id="43" idx="3"/>
            <a:endCxn id="44" idx="1"/>
          </p:cNvCxnSpPr>
          <p:nvPr/>
        </p:nvCxnSpPr>
        <p:spPr>
          <a:xfrm>
            <a:off x="9427767" y="3069630"/>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5" name="Straight Connector 74">
            <a:extLst>
              <a:ext uri="{FF2B5EF4-FFF2-40B4-BE49-F238E27FC236}">
                <a16:creationId xmlns:a16="http://schemas.microsoft.com/office/drawing/2014/main" id="{68FACC67-3856-BCAD-B79D-1B1FC562D24E}"/>
              </a:ext>
            </a:extLst>
          </p:cNvPr>
          <p:cNvCxnSpPr>
            <a:stCxn id="45" idx="3"/>
            <a:endCxn id="46" idx="1"/>
          </p:cNvCxnSpPr>
          <p:nvPr/>
        </p:nvCxnSpPr>
        <p:spPr>
          <a:xfrm>
            <a:off x="4785123" y="4000897"/>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7" name="Straight Connector 76">
            <a:extLst>
              <a:ext uri="{FF2B5EF4-FFF2-40B4-BE49-F238E27FC236}">
                <a16:creationId xmlns:a16="http://schemas.microsoft.com/office/drawing/2014/main" id="{AF887D9A-2922-A08D-DF1B-FB36E008E372}"/>
              </a:ext>
            </a:extLst>
          </p:cNvPr>
          <p:cNvCxnSpPr>
            <a:stCxn id="46" idx="3"/>
            <a:endCxn id="47" idx="1"/>
          </p:cNvCxnSpPr>
          <p:nvPr/>
        </p:nvCxnSpPr>
        <p:spPr>
          <a:xfrm>
            <a:off x="7106445" y="4000897"/>
            <a:ext cx="2621756"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9" name="Straight Connector 78">
            <a:extLst>
              <a:ext uri="{FF2B5EF4-FFF2-40B4-BE49-F238E27FC236}">
                <a16:creationId xmlns:a16="http://schemas.microsoft.com/office/drawing/2014/main" id="{CA573AF6-4FB8-1F2F-B32F-2AC39586D80F}"/>
              </a:ext>
            </a:extLst>
          </p:cNvPr>
          <p:cNvCxnSpPr>
            <a:stCxn id="54" idx="3"/>
            <a:endCxn id="55" idx="1"/>
          </p:cNvCxnSpPr>
          <p:nvPr/>
        </p:nvCxnSpPr>
        <p:spPr>
          <a:xfrm>
            <a:off x="4785123" y="5251251"/>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1" name="Straight Connector 80">
            <a:extLst>
              <a:ext uri="{FF2B5EF4-FFF2-40B4-BE49-F238E27FC236}">
                <a16:creationId xmlns:a16="http://schemas.microsoft.com/office/drawing/2014/main" id="{A567B718-39C3-75B6-2105-106167D5A1A8}"/>
              </a:ext>
            </a:extLst>
          </p:cNvPr>
          <p:cNvCxnSpPr>
            <a:stCxn id="53" idx="3"/>
            <a:endCxn id="51" idx="1"/>
          </p:cNvCxnSpPr>
          <p:nvPr/>
        </p:nvCxnSpPr>
        <p:spPr>
          <a:xfrm>
            <a:off x="9427767" y="4932164"/>
            <a:ext cx="300434"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3" name="Connector: Elbow 82">
            <a:extLst>
              <a:ext uri="{FF2B5EF4-FFF2-40B4-BE49-F238E27FC236}">
                <a16:creationId xmlns:a16="http://schemas.microsoft.com/office/drawing/2014/main" id="{4734727E-11D6-CBC3-5AA7-4AAF9BEB69B3}"/>
              </a:ext>
            </a:extLst>
          </p:cNvPr>
          <p:cNvCxnSpPr>
            <a:stCxn id="55" idx="3"/>
            <a:endCxn id="53" idx="1"/>
          </p:cNvCxnSpPr>
          <p:nvPr/>
        </p:nvCxnSpPr>
        <p:spPr>
          <a:xfrm flipV="1">
            <a:off x="7106445" y="4932164"/>
            <a:ext cx="300434" cy="319087"/>
          </a:xfrm>
          <a:prstGeom prst="bentConnector3">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5" name="Connector: Elbow 84">
            <a:extLst>
              <a:ext uri="{FF2B5EF4-FFF2-40B4-BE49-F238E27FC236}">
                <a16:creationId xmlns:a16="http://schemas.microsoft.com/office/drawing/2014/main" id="{4C1E8786-2074-BBAC-EBD5-228DC88C1D50}"/>
              </a:ext>
            </a:extLst>
          </p:cNvPr>
          <p:cNvCxnSpPr>
            <a:stCxn id="55" idx="3"/>
            <a:endCxn id="52" idx="1"/>
          </p:cNvCxnSpPr>
          <p:nvPr/>
        </p:nvCxnSpPr>
        <p:spPr>
          <a:xfrm>
            <a:off x="7106445" y="5251251"/>
            <a:ext cx="2621756" cy="612181"/>
          </a:xfrm>
          <a:prstGeom prst="bentConnector3">
            <a:avLst>
              <a:gd name="adj1" fmla="val 5757"/>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1" name="Rectangle 90">
            <a:extLst>
              <a:ext uri="{FF2B5EF4-FFF2-40B4-BE49-F238E27FC236}">
                <a16:creationId xmlns:a16="http://schemas.microsoft.com/office/drawing/2014/main" id="{4102110D-F1D8-6B91-6FAF-F21E021B58F8}"/>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2" name="Rectangle 91">
            <a:extLst>
              <a:ext uri="{FF2B5EF4-FFF2-40B4-BE49-F238E27FC236}">
                <a16:creationId xmlns:a16="http://schemas.microsoft.com/office/drawing/2014/main" id="{76D1CB2F-8DB0-81CD-2DE6-7EB391293148}"/>
              </a:ext>
            </a:extLst>
          </p:cNvPr>
          <p:cNvSpPr/>
          <p:nvPr/>
        </p:nvSpPr>
        <p:spPr>
          <a:xfrm>
            <a:off x="5085557"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3" name="Rectangle 92">
            <a:extLst>
              <a:ext uri="{FF2B5EF4-FFF2-40B4-BE49-F238E27FC236}">
                <a16:creationId xmlns:a16="http://schemas.microsoft.com/office/drawing/2014/main" id="{476CAD27-6A6F-5152-CAD0-2A2EF2D77EEA}"/>
              </a:ext>
            </a:extLst>
          </p:cNvPr>
          <p:cNvSpPr/>
          <p:nvPr/>
        </p:nvSpPr>
        <p:spPr>
          <a:xfrm>
            <a:off x="7406879" y="2750705"/>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4" name="Rectangle 93">
            <a:extLst>
              <a:ext uri="{FF2B5EF4-FFF2-40B4-BE49-F238E27FC236}">
                <a16:creationId xmlns:a16="http://schemas.microsoft.com/office/drawing/2014/main" id="{DFF1E51F-516D-E642-E25B-C10C0ADF6890}"/>
              </a:ext>
            </a:extLst>
          </p:cNvPr>
          <p:cNvSpPr/>
          <p:nvPr/>
        </p:nvSpPr>
        <p:spPr>
          <a:xfrm>
            <a:off x="5085557"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5" name="Rectangle 94">
            <a:extLst>
              <a:ext uri="{FF2B5EF4-FFF2-40B4-BE49-F238E27FC236}">
                <a16:creationId xmlns:a16="http://schemas.microsoft.com/office/drawing/2014/main" id="{7B3203CA-458D-EB20-DDC7-3B5ED571F5E5}"/>
              </a:ext>
            </a:extLst>
          </p:cNvPr>
          <p:cNvSpPr/>
          <p:nvPr/>
        </p:nvSpPr>
        <p:spPr>
          <a:xfrm>
            <a:off x="2764235" y="3681810"/>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6" name="Rectangle 95">
            <a:extLst>
              <a:ext uri="{FF2B5EF4-FFF2-40B4-BE49-F238E27FC236}">
                <a16:creationId xmlns:a16="http://schemas.microsoft.com/office/drawing/2014/main" id="{43434C3C-A0D4-3475-4B6D-125EFD62C207}"/>
              </a:ext>
            </a:extLst>
          </p:cNvPr>
          <p:cNvSpPr/>
          <p:nvPr/>
        </p:nvSpPr>
        <p:spPr>
          <a:xfrm>
            <a:off x="5085557"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7" name="Rectangle 96">
            <a:extLst>
              <a:ext uri="{FF2B5EF4-FFF2-40B4-BE49-F238E27FC236}">
                <a16:creationId xmlns:a16="http://schemas.microsoft.com/office/drawing/2014/main" id="{19F7600C-4F07-0F9D-713C-502FD964925F}"/>
              </a:ext>
            </a:extLst>
          </p:cNvPr>
          <p:cNvSpPr/>
          <p:nvPr/>
        </p:nvSpPr>
        <p:spPr>
          <a:xfrm>
            <a:off x="2764235" y="4932163"/>
            <a:ext cx="72000" cy="59888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8" name="Rectangle 97">
            <a:extLst>
              <a:ext uri="{FF2B5EF4-FFF2-40B4-BE49-F238E27FC236}">
                <a16:creationId xmlns:a16="http://schemas.microsoft.com/office/drawing/2014/main" id="{AA275B76-2A0E-FD9A-2673-57CB5C70540E}"/>
              </a:ext>
            </a:extLst>
          </p:cNvPr>
          <p:cNvSpPr/>
          <p:nvPr/>
        </p:nvSpPr>
        <p:spPr>
          <a:xfrm>
            <a:off x="7406879" y="4612913"/>
            <a:ext cx="72000" cy="63817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7" name="Rectangle 6">
            <a:extLst>
              <a:ext uri="{FF2B5EF4-FFF2-40B4-BE49-F238E27FC236}">
                <a16:creationId xmlns:a16="http://schemas.microsoft.com/office/drawing/2014/main" id="{4AF3D674-F01D-DC4C-0069-DB3E2C3D3801}"/>
              </a:ext>
            </a:extLst>
          </p:cNvPr>
          <p:cNvSpPr/>
          <p:nvPr/>
        </p:nvSpPr>
        <p:spPr>
          <a:xfrm>
            <a:off x="442674" y="3375801"/>
            <a:ext cx="2020888" cy="388937"/>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18000" tIns="72000" rIns="18000" bIns="72000" rtlCol="0" anchor="ctr"/>
          <a:lstStyle/>
          <a:p>
            <a:pPr algn="ctr">
              <a:lnSpc>
                <a:spcPct val="100000"/>
              </a:lnSpc>
            </a:pPr>
            <a:r>
              <a:rPr lang="lv-LV" sz="1000" spc="-30">
                <a:solidFill>
                  <a:schemeClr val="bg1"/>
                </a:solidFill>
              </a:rPr>
              <a:t>Ratificēja 12 valstis</a:t>
            </a:r>
            <a:endParaRPr lang="en-US" sz="1000" spc="-30">
              <a:solidFill>
                <a:schemeClr val="bg1"/>
              </a:solidFill>
            </a:endParaRPr>
          </a:p>
        </p:txBody>
      </p:sp>
      <p:grpSp>
        <p:nvGrpSpPr>
          <p:cNvPr id="25" name="Group 24">
            <a:extLst>
              <a:ext uri="{FF2B5EF4-FFF2-40B4-BE49-F238E27FC236}">
                <a16:creationId xmlns:a16="http://schemas.microsoft.com/office/drawing/2014/main" id="{550D3572-69A4-1B79-1405-13CAF2552C00}"/>
              </a:ext>
            </a:extLst>
          </p:cNvPr>
          <p:cNvGrpSpPr/>
          <p:nvPr/>
        </p:nvGrpSpPr>
        <p:grpSpPr>
          <a:xfrm>
            <a:off x="8777593" y="126781"/>
            <a:ext cx="2971495" cy="217488"/>
            <a:chOff x="8296821" y="126781"/>
            <a:chExt cx="2971495" cy="217488"/>
          </a:xfrm>
        </p:grpSpPr>
        <p:sp>
          <p:nvSpPr>
            <p:cNvPr id="3" name="Rectangle 2">
              <a:extLst>
                <a:ext uri="{FF2B5EF4-FFF2-40B4-BE49-F238E27FC236}">
                  <a16:creationId xmlns:a16="http://schemas.microsoft.com/office/drawing/2014/main" id="{8D5960F7-6AB4-04A1-05EC-58545E877365}"/>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8" name="Rectangle 7">
              <a:extLst>
                <a:ext uri="{FF2B5EF4-FFF2-40B4-BE49-F238E27FC236}">
                  <a16:creationId xmlns:a16="http://schemas.microsoft.com/office/drawing/2014/main" id="{57BF0578-A87D-10D2-396E-CD03640BC140}"/>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9" name="Rectangle 8">
              <a:extLst>
                <a:ext uri="{FF2B5EF4-FFF2-40B4-BE49-F238E27FC236}">
                  <a16:creationId xmlns:a16="http://schemas.microsoft.com/office/drawing/2014/main" id="{9ACB64FF-CBA1-DE71-507B-CF3048A8650A}"/>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0" name="Rectangle 9">
              <a:extLst>
                <a:ext uri="{FF2B5EF4-FFF2-40B4-BE49-F238E27FC236}">
                  <a16:creationId xmlns:a16="http://schemas.microsoft.com/office/drawing/2014/main" id="{8E1C2A85-277D-698E-DA23-1EB39485B844}"/>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6BAEA468-7DB4-C462-2F74-58BD06ED88A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7203808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0B3D599B-96B3-0B36-34E0-03B581FF8043}"/>
              </a:ext>
            </a:extLst>
          </p:cNvPr>
          <p:cNvSpPr>
            <a:spLocks noGrp="1"/>
          </p:cNvSpPr>
          <p:nvPr>
            <p:ph type="title"/>
          </p:nvPr>
        </p:nvSpPr>
        <p:spPr>
          <a:xfrm>
            <a:off x="442913" y="432001"/>
            <a:ext cx="11306175" cy="492443"/>
          </a:xfrm>
        </p:spPr>
        <p:txBody>
          <a:bodyPr vert="horz">
            <a:normAutofit fontScale="90000"/>
          </a:bodyPr>
          <a:lstStyle/>
          <a:p>
            <a:r>
              <a:rPr lang="lv-LV" altLang="lv-LV" dirty="0"/>
              <a:t>IV Ženēvas konvencija</a:t>
            </a:r>
            <a:br>
              <a:rPr lang="en-US"/>
            </a:br>
            <a:br>
              <a:rPr lang="lv-LV"/>
            </a:br>
            <a:endParaRPr lang="en-US"/>
          </a:p>
        </p:txBody>
      </p:sp>
      <p:sp>
        <p:nvSpPr>
          <p:cNvPr id="23" name="TextBox 22">
            <a:extLst>
              <a:ext uri="{FF2B5EF4-FFF2-40B4-BE49-F238E27FC236}">
                <a16:creationId xmlns:a16="http://schemas.microsoft.com/office/drawing/2014/main" id="{1D727EF4-9D05-D3F2-DB57-872C50A6D177}"/>
              </a:ext>
            </a:extLst>
          </p:cNvPr>
          <p:cNvSpPr txBox="1"/>
          <p:nvPr/>
        </p:nvSpPr>
        <p:spPr>
          <a:xfrm>
            <a:off x="442914" y="1041609"/>
            <a:ext cx="11306174" cy="584775"/>
          </a:xfrm>
          <a:prstGeom prst="rect">
            <a:avLst/>
          </a:prstGeom>
          <a:solidFill>
            <a:srgbClr val="D9D9D9"/>
          </a:solidFill>
        </p:spPr>
        <p:txBody>
          <a:bodyPr wrap="square" lIns="144000">
            <a:spAutoFit/>
          </a:bodyPr>
          <a:lstStyle/>
          <a:p>
            <a:pPr>
              <a:defRPr/>
            </a:pPr>
            <a:r>
              <a:rPr lang="lv-LV" altLang="lv-LV" sz="1600" b="0" dirty="0"/>
              <a:t>Pirmās trīs konvencijas attiecas uz karavīriem, bet IV Ženēvas konvencija – tieši uz civiliedzīvotāju humāno aizsardzību kara zonā.</a:t>
            </a:r>
          </a:p>
        </p:txBody>
      </p:sp>
      <p:sp>
        <p:nvSpPr>
          <p:cNvPr id="24" name="Rectangle 23">
            <a:extLst>
              <a:ext uri="{FF2B5EF4-FFF2-40B4-BE49-F238E27FC236}">
                <a16:creationId xmlns:a16="http://schemas.microsoft.com/office/drawing/2014/main" id="{E478B57E-9D09-0000-9AF3-D27569D2DF74}"/>
              </a:ext>
            </a:extLst>
          </p:cNvPr>
          <p:cNvSpPr/>
          <p:nvPr/>
        </p:nvSpPr>
        <p:spPr>
          <a:xfrm>
            <a:off x="442913" y="1041400"/>
            <a:ext cx="72000" cy="5842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2" name="Satura vietturis 2">
            <a:extLst>
              <a:ext uri="{FF2B5EF4-FFF2-40B4-BE49-F238E27FC236}">
                <a16:creationId xmlns:a16="http://schemas.microsoft.com/office/drawing/2014/main" id="{356DC22F-02D6-30F8-E963-C894A2C4DEDE}"/>
              </a:ext>
            </a:extLst>
          </p:cNvPr>
          <p:cNvSpPr txBox="1">
            <a:spLocks/>
          </p:cNvSpPr>
          <p:nvPr/>
        </p:nvSpPr>
        <p:spPr>
          <a:xfrm>
            <a:off x="6275389" y="1819275"/>
            <a:ext cx="5487812" cy="4352925"/>
          </a:xfrm>
          <a:prstGeom prst="rect">
            <a:avLst/>
          </a:prstGeom>
          <a:noFill/>
          <a:ln w="3175">
            <a:solidFill>
              <a:schemeClr val="bg1">
                <a:lumMod val="75000"/>
              </a:schemeClr>
            </a:solidFill>
          </a:ln>
        </p:spPr>
        <p:txBody>
          <a:bodyPr vert="horz" lIns="72000" tIns="72000" rIns="72000" bIns="7200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30400" indent="-230400">
              <a:spcAft>
                <a:spcPts val="600"/>
              </a:spcAft>
              <a:buFont typeface="+mj-lt"/>
              <a:buAutoNum type="arabicPeriod"/>
              <a:defRPr/>
            </a:pPr>
            <a:endParaRPr lang="en-US" altLang="lv-LV" sz="1600">
              <a:solidFill>
                <a:schemeClr val="tx1"/>
              </a:solidFill>
            </a:endParaRPr>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pic>
        <p:nvPicPr>
          <p:cNvPr id="2" name="Picture 1" descr="A blue triangle on an orange background&#10;&#10;Description automatically generated">
            <a:extLst>
              <a:ext uri="{FF2B5EF4-FFF2-40B4-BE49-F238E27FC236}">
                <a16:creationId xmlns:a16="http://schemas.microsoft.com/office/drawing/2014/main" id="{957E0125-75FE-A90F-4B6B-4B52A8E2BC5C}"/>
              </a:ext>
            </a:extLst>
          </p:cNvPr>
          <p:cNvPicPr>
            <a:picLocks noChangeAspect="1"/>
          </p:cNvPicPr>
          <p:nvPr/>
        </p:nvPicPr>
        <p:blipFill>
          <a:blip r:embed="rId3"/>
          <a:stretch>
            <a:fillRect/>
          </a:stretch>
        </p:blipFill>
        <p:spPr>
          <a:xfrm>
            <a:off x="7439465" y="2577023"/>
            <a:ext cx="3159660" cy="3239368"/>
          </a:xfrm>
          <a:prstGeom prst="rect">
            <a:avLst/>
          </a:prstGeom>
        </p:spPr>
      </p:pic>
      <p:sp>
        <p:nvSpPr>
          <p:cNvPr id="28" name="Content Placeholder 2">
            <a:extLst>
              <a:ext uri="{FF2B5EF4-FFF2-40B4-BE49-F238E27FC236}">
                <a16:creationId xmlns:a16="http://schemas.microsoft.com/office/drawing/2014/main" id="{02A879E4-28B8-B93B-5CA9-C090BC0DDE17}"/>
              </a:ext>
            </a:extLst>
          </p:cNvPr>
          <p:cNvSpPr txBox="1">
            <a:spLocks/>
          </p:cNvSpPr>
          <p:nvPr/>
        </p:nvSpPr>
        <p:spPr>
          <a:xfrm>
            <a:off x="442912" y="2504344"/>
            <a:ext cx="5473701" cy="3667856"/>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defRPr/>
            </a:pPr>
            <a:r>
              <a:rPr lang="lv-LV" altLang="lv-LV" sz="1600" b="0" dirty="0">
                <a:solidFill>
                  <a:srgbClr val="000000"/>
                </a:solidFill>
                <a:cs typeface="Arial"/>
              </a:rPr>
              <a:t>Pieņemta: 1949. gada 12. augustā</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Stājās spēkā: 1950.gada 21.oktobrī</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Ratificējušas 196 valstis</a:t>
            </a:r>
          </a:p>
          <a:p>
            <a:pPr marL="285750" indent="-285750">
              <a:spcAft>
                <a:spcPts val="600"/>
              </a:spcAft>
              <a:buFont typeface="Arial" panose="020B0604020202020204" pitchFamily="34" charset="0"/>
              <a:buChar char="•"/>
              <a:defRPr/>
            </a:pPr>
            <a:r>
              <a:rPr lang="en-US" altLang="lv-LV" sz="1600" b="0" dirty="0">
                <a:solidFill>
                  <a:srgbClr val="000000"/>
                </a:solidFill>
                <a:latin typeface="Arial"/>
              </a:rPr>
              <a:t>P</a:t>
            </a:r>
            <a:r>
              <a:rPr lang="lv-LV" altLang="lv-LV" sz="1600" b="0" dirty="0">
                <a:solidFill>
                  <a:srgbClr val="000000"/>
                </a:solidFill>
                <a:latin typeface="Arial"/>
              </a:rPr>
              <a:t>ar civilpersonu aizsardzību kara laikā</a:t>
            </a:r>
            <a:endParaRPr lang="lv-LV" altLang="lv-LV" sz="1600" b="0">
              <a:solidFill>
                <a:srgbClr val="000000"/>
              </a:solidFill>
              <a:cs typeface="Arial"/>
            </a:endParaRPr>
          </a:p>
          <a:p>
            <a:pPr marL="285750" indent="-285750">
              <a:spcAft>
                <a:spcPts val="600"/>
              </a:spcAft>
              <a:buFont typeface="Arial" panose="020B0604020202020204" pitchFamily="34" charset="0"/>
              <a:buChar char="•"/>
              <a:defRPr/>
            </a:pPr>
            <a:r>
              <a:rPr lang="lv-LV" altLang="lv-LV" sz="1600" b="0" dirty="0">
                <a:solidFill>
                  <a:srgbClr val="000000"/>
                </a:solidFill>
                <a:cs typeface="Arial"/>
              </a:rPr>
              <a:t>Sevišķa aizsardzība civiliedzīvotājiem, sievietēm un bērniem</a:t>
            </a:r>
          </a:p>
          <a:p>
            <a:pPr marL="285750" indent="-285750">
              <a:spcAft>
                <a:spcPts val="600"/>
              </a:spcAft>
              <a:buFont typeface="Arial" panose="020B0604020202020204" pitchFamily="34" charset="0"/>
              <a:buChar char="•"/>
              <a:defRPr/>
            </a:pPr>
            <a:r>
              <a:rPr lang="lv-LV" altLang="lv-LV" sz="1600" b="0" dirty="0">
                <a:solidFill>
                  <a:srgbClr val="000000"/>
                </a:solidFill>
                <a:cs typeface="Arial"/>
              </a:rPr>
              <a:t>Aizliedz bezmērķīgu personiskā īpašuma, sabiedrisko, kooperatīvo organizāciju un valsts īpašuma iznīcināšanu</a:t>
            </a:r>
          </a:p>
          <a:p>
            <a:pPr>
              <a:spcAft>
                <a:spcPts val="600"/>
              </a:spcAft>
              <a:defRPr/>
            </a:pPr>
            <a:endParaRPr lang="lv-LV" altLang="lv-LV" sz="1600" b="0">
              <a:solidFill>
                <a:srgbClr val="000000"/>
              </a:solidFill>
              <a:cs typeface="Arial"/>
            </a:endParaRPr>
          </a:p>
        </p:txBody>
      </p:sp>
      <p:sp>
        <p:nvSpPr>
          <p:cNvPr id="29" name="Rectangle 28">
            <a:extLst>
              <a:ext uri="{FF2B5EF4-FFF2-40B4-BE49-F238E27FC236}">
                <a16:creationId xmlns:a16="http://schemas.microsoft.com/office/drawing/2014/main" id="{9EC4F145-CF24-7274-5B9E-4B933D29FD0E}"/>
              </a:ext>
            </a:extLst>
          </p:cNvPr>
          <p:cNvSpPr/>
          <p:nvPr/>
        </p:nvSpPr>
        <p:spPr>
          <a:xfrm>
            <a:off x="442913" y="1819275"/>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altLang="lv-LV" sz="1600" b="1" dirty="0">
                <a:solidFill>
                  <a:schemeClr val="bg1"/>
                </a:solidFill>
                <a:latin typeface="Arial"/>
              </a:rPr>
              <a:t>Īsumā par IV Ženēvas konvenciju </a:t>
            </a:r>
            <a:endParaRPr lang="en-US" sz="1600" b="1" dirty="0">
              <a:solidFill>
                <a:schemeClr val="bg1"/>
              </a:solidFill>
              <a:cs typeface="Arial"/>
            </a:endParaRPr>
          </a:p>
        </p:txBody>
      </p:sp>
      <p:sp>
        <p:nvSpPr>
          <p:cNvPr id="3" name="Rectangle 2">
            <a:extLst>
              <a:ext uri="{FF2B5EF4-FFF2-40B4-BE49-F238E27FC236}">
                <a16:creationId xmlns:a16="http://schemas.microsoft.com/office/drawing/2014/main" id="{F0ACCE67-7396-3AD9-C3FE-8D4D440E25AA}"/>
              </a:ext>
            </a:extLst>
          </p:cNvPr>
          <p:cNvSpPr/>
          <p:nvPr/>
        </p:nvSpPr>
        <p:spPr>
          <a:xfrm>
            <a:off x="6275388" y="1794973"/>
            <a:ext cx="5473701"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altLang="lv-LV" sz="1600" b="1" dirty="0">
                <a:solidFill>
                  <a:schemeClr val="bg1"/>
                </a:solidFill>
                <a:latin typeface="Arial"/>
              </a:rPr>
              <a:t>Civilās aizsardzības simbols, kas noteikts IV Ženēvas konvencijā</a:t>
            </a:r>
            <a:endParaRPr lang="en-US" sz="1600" b="1" dirty="0">
              <a:solidFill>
                <a:schemeClr val="bg1"/>
              </a:solidFill>
              <a:cs typeface="Arial"/>
            </a:endParaRPr>
          </a:p>
        </p:txBody>
      </p:sp>
      <p:grpSp>
        <p:nvGrpSpPr>
          <p:cNvPr id="16" name="Group 15">
            <a:extLst>
              <a:ext uri="{FF2B5EF4-FFF2-40B4-BE49-F238E27FC236}">
                <a16:creationId xmlns:a16="http://schemas.microsoft.com/office/drawing/2014/main" id="{217EE2BB-AF98-D616-D4B5-97EF6DD5DB5A}"/>
              </a:ext>
            </a:extLst>
          </p:cNvPr>
          <p:cNvGrpSpPr/>
          <p:nvPr/>
        </p:nvGrpSpPr>
        <p:grpSpPr>
          <a:xfrm>
            <a:off x="8777593" y="126781"/>
            <a:ext cx="2971495" cy="217488"/>
            <a:chOff x="8296821" y="126781"/>
            <a:chExt cx="2971495" cy="217488"/>
          </a:xfrm>
        </p:grpSpPr>
        <p:sp>
          <p:nvSpPr>
            <p:cNvPr id="17" name="Rectangle 16">
              <a:extLst>
                <a:ext uri="{FF2B5EF4-FFF2-40B4-BE49-F238E27FC236}">
                  <a16:creationId xmlns:a16="http://schemas.microsoft.com/office/drawing/2014/main" id="{5D3C9ED2-2C90-F319-2352-E7D400DAC88A}"/>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solidFill>
                    <a:srgbClr val="A4A3B2"/>
                  </a:solidFill>
                  <a:effectLst/>
                  <a:uLnTx/>
                  <a:uFillTx/>
                  <a:ea typeface="Georgia"/>
                  <a:cs typeface="Georgia"/>
                  <a:sym typeface="Georgia"/>
                </a:rPr>
                <a:t>1.1</a:t>
              </a:r>
              <a:endParaRPr kumimoji="0" lang="lv-LV" sz="800" b="1" i="0" u="none" strike="noStrike" kern="0" cap="none" spc="0" normalizeH="0" baseline="0" noProof="0" dirty="0">
                <a:ln>
                  <a:noFill/>
                </a:ln>
                <a:solidFill>
                  <a:srgbClr val="A4A3B2"/>
                </a:solidFill>
                <a:effectLst/>
                <a:uLnTx/>
                <a:uFillTx/>
                <a:ea typeface="Georgia"/>
                <a:cs typeface="Georgia"/>
                <a:sym typeface="Georgia"/>
              </a:endParaRPr>
            </a:p>
          </p:txBody>
        </p:sp>
        <p:sp>
          <p:nvSpPr>
            <p:cNvPr id="18" name="Rectangle 17">
              <a:extLst>
                <a:ext uri="{FF2B5EF4-FFF2-40B4-BE49-F238E27FC236}">
                  <a16:creationId xmlns:a16="http://schemas.microsoft.com/office/drawing/2014/main" id="{47D50438-AE16-A65B-BAD1-64FB5AB68114}"/>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dirty="0">
                  <a:ln>
                    <a:noFill/>
                  </a:ln>
                  <a:effectLst/>
                  <a:uLnTx/>
                  <a:uFillTx/>
                  <a:ea typeface="Georgia"/>
                  <a:cs typeface="Georgia"/>
                  <a:sym typeface="Georgia"/>
                </a:rPr>
                <a:t>Ieskats civilās aizsardzības attīstības vēsturē</a:t>
              </a:r>
            </a:p>
          </p:txBody>
        </p:sp>
        <p:sp>
          <p:nvSpPr>
            <p:cNvPr id="20" name="Rectangle 19">
              <a:extLst>
                <a:ext uri="{FF2B5EF4-FFF2-40B4-BE49-F238E27FC236}">
                  <a16:creationId xmlns:a16="http://schemas.microsoft.com/office/drawing/2014/main" id="{22E501FA-BEFD-4341-A123-C55A24AECF16}"/>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solidFill>
                    <a:srgbClr val="A4A3B2"/>
                  </a:solidFill>
                  <a:effectLst/>
                  <a:uLnTx/>
                  <a:uFillTx/>
                  <a:ea typeface="Georgia"/>
                  <a:cs typeface="Georgia"/>
                  <a:sym typeface="Georgia"/>
                </a:rPr>
                <a:t>1.2</a:t>
              </a:r>
              <a:endParaRPr kumimoji="0" lang="lv-LV" sz="800" b="1" i="0" u="none" strike="noStrike" kern="0" cap="none" spc="0" normalizeH="0" baseline="0" noProof="0" dirty="0">
                <a:ln>
                  <a:noFill/>
                </a:ln>
                <a:solidFill>
                  <a:srgbClr val="A4A3B2"/>
                </a:solidFill>
                <a:effectLst/>
                <a:uLnTx/>
                <a:uFillTx/>
                <a:ea typeface="Georgia"/>
                <a:cs typeface="Georgia"/>
                <a:sym typeface="Georgia"/>
              </a:endParaRPr>
            </a:p>
          </p:txBody>
        </p:sp>
        <p:sp>
          <p:nvSpPr>
            <p:cNvPr id="22" name="Rectangle 21">
              <a:extLst>
                <a:ext uri="{FF2B5EF4-FFF2-40B4-BE49-F238E27FC236}">
                  <a16:creationId xmlns:a16="http://schemas.microsoft.com/office/drawing/2014/main" id="{B1D29B61-DF6E-C274-8D4A-280B28385535}"/>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dirty="0">
                  <a:ln>
                    <a:noFill/>
                  </a:ln>
                  <a:effectLst/>
                  <a:uLnTx/>
                  <a:uFillTx/>
                  <a:ea typeface="Georgia"/>
                  <a:cs typeface="Georgia"/>
                  <a:sym typeface="Georgia"/>
                </a:rPr>
                <a:t>1.3</a:t>
              </a:r>
              <a:endParaRPr kumimoji="0" lang="lv-LV" sz="800" b="1" i="0" u="none" strike="noStrike" kern="0" cap="none" spc="0" normalizeH="0" baseline="0" noProof="0" dirty="0">
                <a:ln>
                  <a:noFill/>
                </a:ln>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855A4B01-44C8-8044-FED6-B0B0495C9971}"/>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rgbClr val="A4A3B2"/>
                </a:solidFill>
                <a:effectLst/>
                <a:uLnTx/>
                <a:uFillTx/>
                <a:ea typeface="Georgia"/>
                <a:cs typeface="Georgia"/>
                <a:sym typeface="Georgia"/>
              </a:rPr>
              <a:t>1.</a:t>
            </a:r>
            <a:r>
              <a:rPr kumimoji="0" lang="en-US" sz="800" i="0" u="none" strike="noStrike" kern="0" cap="none" spc="0" normalizeH="0" baseline="0" noProof="0" dirty="0">
                <a:ln>
                  <a:noFill/>
                </a:ln>
                <a:solidFill>
                  <a:srgbClr val="A4A3B2"/>
                </a:solidFill>
                <a:effectLst/>
                <a:uLnTx/>
                <a:uFillTx/>
                <a:ea typeface="Georgia"/>
                <a:cs typeface="Georgia"/>
                <a:sym typeface="Georgia"/>
              </a:rPr>
              <a:t> </a:t>
            </a:r>
            <a:r>
              <a:rPr kumimoji="0" lang="lv-LV" sz="800" i="0" u="none" strike="noStrike" kern="0" cap="none" spc="0" normalizeH="0" baseline="0" noProof="0" dirty="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62602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dirty="0" err="1"/>
              <a:t>Uzdevum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5032" y="1822362"/>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Izglītojamie:</a:t>
            </a:r>
          </a:p>
          <a:p>
            <a:pPr marL="742950" lvl="3" indent="-285750">
              <a:spcAft>
                <a:spcPts val="600"/>
              </a:spcAft>
              <a:buBlip>
                <a:blip r:embed="rId2"/>
              </a:buBlip>
            </a:pPr>
            <a:r>
              <a:rPr lang="en-GB" sz="1600" dirty="0" err="1">
                <a:cs typeface="Arial"/>
              </a:rPr>
              <a:t>prot</a:t>
            </a:r>
            <a:r>
              <a:rPr lang="en-GB" sz="1600" dirty="0">
                <a:cs typeface="Arial"/>
              </a:rPr>
              <a:t> </a:t>
            </a:r>
            <a:r>
              <a:rPr lang="en-GB" sz="1600" dirty="0" err="1">
                <a:cs typeface="Arial"/>
              </a:rPr>
              <a:t>paskaidrot</a:t>
            </a:r>
            <a:r>
              <a:rPr lang="en-GB" sz="1600" dirty="0">
                <a:cs typeface="Arial"/>
              </a:rPr>
              <a:t>, kas </a:t>
            </a:r>
            <a:r>
              <a:rPr lang="en-GB" sz="1600" dirty="0" err="1">
                <a:cs typeface="Arial"/>
              </a:rPr>
              <a:t>ir</a:t>
            </a:r>
            <a:r>
              <a:rPr lang="en-GB" sz="1600" dirty="0">
                <a:cs typeface="Arial"/>
              </a:rPr>
              <a:t> </a:t>
            </a:r>
            <a:r>
              <a:rPr lang="en-GB" sz="1600" dirty="0" err="1">
                <a:cs typeface="Arial"/>
              </a:rPr>
              <a:t>civilā</a:t>
            </a:r>
            <a:r>
              <a:rPr lang="en-GB" sz="1600" dirty="0">
                <a:cs typeface="Arial"/>
              </a:rPr>
              <a:t> </a:t>
            </a:r>
            <a:r>
              <a:rPr lang="en-GB" sz="1600" dirty="0" err="1">
                <a:cs typeface="Arial"/>
              </a:rPr>
              <a:t>aizsardzība</a:t>
            </a:r>
            <a:r>
              <a:rPr lang="en-GB" sz="1600" dirty="0">
                <a:cs typeface="Arial"/>
              </a:rPr>
              <a:t>;</a:t>
            </a:r>
          </a:p>
          <a:p>
            <a:pPr marL="742950" lvl="3" indent="-285750">
              <a:spcAft>
                <a:spcPts val="600"/>
              </a:spcAft>
              <a:buBlip>
                <a:blip r:embed="rId2"/>
              </a:buBlip>
            </a:pPr>
            <a:r>
              <a:rPr lang="en-GB" sz="1600" dirty="0">
                <a:cs typeface="Arial"/>
              </a:rPr>
              <a:t>var </a:t>
            </a:r>
            <a:r>
              <a:rPr lang="en-GB" sz="1600" dirty="0" err="1">
                <a:cs typeface="Arial"/>
              </a:rPr>
              <a:t>nosaukt</a:t>
            </a:r>
            <a:r>
              <a:rPr lang="en-GB" sz="1600" dirty="0">
                <a:cs typeface="Arial"/>
              </a:rPr>
              <a:t> </a:t>
            </a: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uzdevumus</a:t>
            </a:r>
            <a:r>
              <a:rPr lang="en-GB" sz="1600" dirty="0">
                <a:cs typeface="Arial"/>
              </a:rPr>
              <a:t>, </a:t>
            </a:r>
            <a:br>
              <a:rPr lang="en-GB" sz="1600" dirty="0">
                <a:cs typeface="Arial"/>
              </a:rPr>
            </a:br>
            <a:r>
              <a:rPr lang="en-GB" sz="1600" dirty="0" err="1">
                <a:cs typeface="Arial"/>
              </a:rPr>
              <a:t>paskaidrot</a:t>
            </a:r>
            <a:r>
              <a:rPr lang="en-GB" sz="1600" dirty="0">
                <a:cs typeface="Arial"/>
              </a:rPr>
              <a:t> to </a:t>
            </a:r>
            <a:r>
              <a:rPr lang="en-GB" sz="1600" dirty="0" err="1">
                <a:cs typeface="Arial"/>
              </a:rPr>
              <a:t>komplekso</a:t>
            </a:r>
            <a:r>
              <a:rPr lang="en-GB" sz="1600" dirty="0">
                <a:cs typeface="Arial"/>
              </a:rPr>
              <a:t> </a:t>
            </a:r>
            <a:r>
              <a:rPr lang="en-GB" sz="1600" dirty="0" err="1">
                <a:cs typeface="Arial"/>
              </a:rPr>
              <a:t>raksturu</a:t>
            </a:r>
            <a:r>
              <a:rPr lang="en-GB" sz="1600" dirty="0">
                <a:cs typeface="Arial"/>
              </a:rPr>
              <a:t>;</a:t>
            </a:r>
          </a:p>
          <a:p>
            <a:pPr marL="742950" lvl="3" indent="-285750">
              <a:spcAft>
                <a:spcPts val="600"/>
              </a:spcAft>
              <a:buBlip>
                <a:blip r:embed="rId2"/>
              </a:buBlip>
            </a:pPr>
            <a:r>
              <a:rPr lang="en-GB" sz="1600" dirty="0">
                <a:cs typeface="Arial"/>
              </a:rPr>
              <a:t>var </a:t>
            </a:r>
            <a:r>
              <a:rPr lang="en-GB" sz="1600" dirty="0" err="1">
                <a:cs typeface="Arial"/>
              </a:rPr>
              <a:t>pastāstīt</a:t>
            </a:r>
            <a:r>
              <a:rPr lang="en-GB" sz="1600" dirty="0">
                <a:cs typeface="Arial"/>
              </a:rPr>
              <a:t> par </a:t>
            </a:r>
            <a:r>
              <a:rPr lang="en-GB" sz="1600" dirty="0" err="1">
                <a:cs typeface="Arial"/>
              </a:rPr>
              <a:t>civilās</a:t>
            </a:r>
            <a:r>
              <a:rPr lang="en-GB" sz="1600" dirty="0">
                <a:cs typeface="Arial"/>
              </a:rPr>
              <a:t> </a:t>
            </a:r>
            <a:r>
              <a:rPr lang="en-GB" sz="1600" dirty="0" err="1">
                <a:cs typeface="Arial"/>
              </a:rPr>
              <a:t>aizsardzības</a:t>
            </a:r>
            <a:r>
              <a:rPr lang="en-GB" sz="1600" dirty="0">
                <a:cs typeface="Arial"/>
              </a:rPr>
              <a:t> </a:t>
            </a:r>
            <a:r>
              <a:rPr lang="en-GB" sz="1600" dirty="0" err="1">
                <a:cs typeface="Arial"/>
              </a:rPr>
              <a:t>sistēmas</a:t>
            </a:r>
            <a:r>
              <a:rPr lang="en-GB" sz="1600" dirty="0">
                <a:cs typeface="Arial"/>
              </a:rPr>
              <a:t> </a:t>
            </a:r>
            <a:br>
              <a:rPr lang="en-GB" sz="1600" dirty="0">
                <a:cs typeface="Arial"/>
              </a:rPr>
            </a:br>
            <a:r>
              <a:rPr lang="en-GB" sz="1600" dirty="0" err="1">
                <a:cs typeface="Arial"/>
              </a:rPr>
              <a:t>vēsturiskās</a:t>
            </a:r>
            <a:r>
              <a:rPr lang="en-GB" sz="1600" dirty="0">
                <a:cs typeface="Arial"/>
              </a:rPr>
              <a:t> </a:t>
            </a:r>
            <a:r>
              <a:rPr lang="en-GB" sz="1600" dirty="0" err="1">
                <a:cs typeface="Arial"/>
              </a:rPr>
              <a:t>attīstības</a:t>
            </a:r>
            <a:r>
              <a:rPr lang="en-GB" sz="1600" dirty="0">
                <a:cs typeface="Arial"/>
              </a:rPr>
              <a:t> </a:t>
            </a:r>
            <a:r>
              <a:rPr lang="en-GB" sz="1600" dirty="0" err="1">
                <a:cs typeface="Arial"/>
              </a:rPr>
              <a:t>svarīgākajiem</a:t>
            </a:r>
            <a:r>
              <a:rPr lang="en-GB" sz="1600" dirty="0">
                <a:cs typeface="Arial"/>
              </a:rPr>
              <a:t> </a:t>
            </a:r>
            <a:r>
              <a:rPr lang="en-GB" sz="1600" dirty="0" err="1">
                <a:cs typeface="Arial"/>
              </a:rPr>
              <a:t>notikumiem</a:t>
            </a:r>
            <a:r>
              <a:rPr lang="lv-LV" sz="1600" dirty="0">
                <a:cs typeface="Arial"/>
              </a:rPr>
              <a:t>.</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600" dirty="0">
                <a:cs typeface="Arial"/>
              </a:rPr>
              <a:t>Iepazīstināt izglītojamos ar:</a:t>
            </a:r>
          </a:p>
          <a:p>
            <a:pPr marL="742950" lvl="3" indent="-285750">
              <a:spcAft>
                <a:spcPts val="600"/>
              </a:spcAft>
              <a:buBlip>
                <a:blip r:embed="rId2"/>
              </a:buBlip>
            </a:pPr>
            <a:r>
              <a:rPr lang="en-GB" sz="1600" dirty="0">
                <a:cs typeface="Arial"/>
              </a:rPr>
              <a:t>civilās aizsardzības </a:t>
            </a:r>
            <a:r>
              <a:rPr lang="en-GB" sz="1600" dirty="0" err="1">
                <a:cs typeface="Arial"/>
              </a:rPr>
              <a:t>jēdzienu</a:t>
            </a:r>
            <a:r>
              <a:rPr lang="en-GB" sz="1600" dirty="0">
                <a:cs typeface="Arial"/>
              </a:rPr>
              <a:t>;</a:t>
            </a:r>
          </a:p>
          <a:p>
            <a:pPr marL="742950" lvl="3" indent="-285750">
              <a:spcAft>
                <a:spcPts val="600"/>
              </a:spcAft>
              <a:buBlip>
                <a:blip r:embed="rId2"/>
              </a:buBlip>
            </a:pPr>
            <a:r>
              <a:rPr lang="en-GB" sz="1600" dirty="0">
                <a:cs typeface="Arial"/>
              </a:rPr>
              <a:t>civilās aizsardzības </a:t>
            </a:r>
            <a:r>
              <a:rPr lang="en-GB" sz="1600" dirty="0" err="1">
                <a:cs typeface="Arial"/>
              </a:rPr>
              <a:t>uzdevumiem</a:t>
            </a:r>
            <a:r>
              <a:rPr lang="en-GB" sz="1600" dirty="0">
                <a:cs typeface="Arial"/>
              </a:rPr>
              <a:t>.</a:t>
            </a:r>
            <a:endParaRPr lang="lv-LV" sz="1600" dirty="0">
              <a:cs typeface="Arial"/>
            </a:endParaRPr>
          </a:p>
          <a:p>
            <a:pPr marL="0" lvl="3">
              <a:spcAft>
                <a:spcPts val="600"/>
              </a:spcAft>
            </a:pPr>
            <a:r>
              <a:rPr lang="en-GB" sz="1600" dirty="0" err="1">
                <a:cs typeface="Arial"/>
              </a:rPr>
              <a:t>Sniegt</a:t>
            </a:r>
            <a:r>
              <a:rPr lang="en-GB" sz="1600" dirty="0">
                <a:cs typeface="Arial"/>
              </a:rPr>
              <a:t> </a:t>
            </a:r>
            <a:r>
              <a:rPr lang="en-GB" sz="1600" dirty="0" err="1">
                <a:cs typeface="Arial"/>
              </a:rPr>
              <a:t>ieskatu</a:t>
            </a:r>
            <a:r>
              <a:rPr lang="en-GB" sz="1600" dirty="0">
                <a:cs typeface="Arial"/>
              </a:rPr>
              <a:t> civilās aizsardzības </a:t>
            </a:r>
            <a:r>
              <a:rPr lang="en-GB" sz="1600" dirty="0" err="1">
                <a:cs typeface="Arial"/>
              </a:rPr>
              <a:t>vēst</a:t>
            </a:r>
            <a:r>
              <a:rPr lang="lv-LV" sz="1600" dirty="0" err="1">
                <a:cs typeface="Arial"/>
              </a:rPr>
              <a:t>urē</a:t>
            </a:r>
            <a:r>
              <a:rPr lang="lv-LV" sz="1600" dirty="0">
                <a:cs typeface="Arial"/>
              </a:rPr>
              <a:t>.</a:t>
            </a:r>
            <a:endParaRPr lang="en-GB" sz="1600" dirty="0">
              <a:cs typeface="Arial"/>
            </a:endParaRPr>
          </a:p>
          <a:p>
            <a:pPr marL="742950" lvl="3" indent="-285750">
              <a:spcAft>
                <a:spcPts val="600"/>
              </a:spcAft>
              <a:buBlip>
                <a:blip r:embed="rId2"/>
              </a:buBlip>
            </a:pPr>
            <a:endParaRPr lang="lv-LV" sz="1600" dirty="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a:srcRect t="42892" b="30359"/>
          <a:stretch/>
        </p:blipFill>
        <p:spPr>
          <a:xfrm>
            <a:off x="442911" y="4402207"/>
            <a:ext cx="11309609" cy="1769992"/>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a:t>
            </a:fld>
            <a:endParaRPr lang="en-GB"/>
          </a:p>
        </p:txBody>
      </p:sp>
      <p:sp>
        <p:nvSpPr>
          <p:cNvPr id="5" name="Rectangle 4">
            <a:extLst>
              <a:ext uri="{FF2B5EF4-FFF2-40B4-BE49-F238E27FC236}">
                <a16:creationId xmlns:a16="http://schemas.microsoft.com/office/drawing/2014/main" id="{5086FC4D-B6B2-93B6-B141-7E1A4D7132D5}"/>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p:txBody>
          <a:bodyPr/>
          <a:lstStyle/>
          <a:p>
            <a:fld id="{7870704B-CE94-48CC-AF30-84932A1262A7}" type="slidenum">
              <a:rPr lang="en-GB" smtClean="0"/>
              <a:pPr/>
              <a:t>20</a:t>
            </a:fld>
            <a:endParaRPr lang="en-GB"/>
          </a:p>
        </p:txBody>
      </p:sp>
      <p:sp>
        <p:nvSpPr>
          <p:cNvPr id="9" name="Content Placeholder 2">
            <a:extLst>
              <a:ext uri="{FF2B5EF4-FFF2-40B4-BE49-F238E27FC236}">
                <a16:creationId xmlns:a16="http://schemas.microsoft.com/office/drawing/2014/main" id="{00D84E12-F20E-EBE2-7728-6DD7A4BBAFD1}"/>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defRPr/>
            </a:pPr>
            <a:r>
              <a:rPr lang="lv-LV" altLang="lv-LV" sz="1600" b="0">
                <a:solidFill>
                  <a:srgbClr val="000000"/>
                </a:solidFill>
                <a:latin typeface="Arial"/>
              </a:rPr>
              <a:t>Laika gaitā 1949. gada konvencija tikusi papildināta ar trīs papildprotokoliem:</a:t>
            </a:r>
          </a:p>
          <a:p>
            <a:pPr marL="172720" indent="-172720">
              <a:spcAft>
                <a:spcPts val="600"/>
              </a:spcAft>
              <a:buFont typeface="Arial" panose="020B0604020202020204" pitchFamily="34" charset="0"/>
              <a:buChar char="•"/>
              <a:defRPr/>
            </a:pPr>
            <a:r>
              <a:rPr lang="lv-LV" altLang="lv-LV" sz="1600" b="0">
                <a:solidFill>
                  <a:srgbClr val="000000"/>
                </a:solidFill>
                <a:latin typeface="Arial"/>
              </a:rPr>
              <a:t>I Protokols</a:t>
            </a:r>
            <a:r>
              <a:rPr lang="en-US" altLang="lv-LV" sz="1600" b="0">
                <a:solidFill>
                  <a:srgbClr val="000000"/>
                </a:solidFill>
                <a:latin typeface="Arial"/>
              </a:rPr>
              <a:t> (1977)</a:t>
            </a:r>
            <a:r>
              <a:rPr lang="lv-LV" altLang="lv-LV" sz="1600" b="0">
                <a:solidFill>
                  <a:srgbClr val="000000"/>
                </a:solidFill>
                <a:latin typeface="Arial"/>
              </a:rPr>
              <a:t> par cietušo aizsardzību starptautiskajos bruņotajos konfliktos</a:t>
            </a:r>
            <a:endParaRPr lang="en-US" altLang="lv-LV" sz="1600" b="0">
              <a:solidFill>
                <a:srgbClr val="000000"/>
              </a:solidFill>
              <a:latin typeface="Arial"/>
              <a:cs typeface="Arial"/>
            </a:endParaRPr>
          </a:p>
          <a:p>
            <a:pPr marL="172720" indent="-172720">
              <a:spcAft>
                <a:spcPts val="600"/>
              </a:spcAft>
              <a:buFont typeface="Arial" panose="020B0604020202020204" pitchFamily="34" charset="0"/>
              <a:buChar char="•"/>
              <a:defRPr/>
            </a:pPr>
            <a:r>
              <a:rPr lang="lv-LV" altLang="lv-LV" sz="1600" b="0">
                <a:solidFill>
                  <a:srgbClr val="000000"/>
                </a:solidFill>
                <a:latin typeface="Arial"/>
              </a:rPr>
              <a:t>II Protokols </a:t>
            </a:r>
            <a:r>
              <a:rPr lang="en-US" altLang="lv-LV" sz="1600" b="0">
                <a:solidFill>
                  <a:srgbClr val="000000"/>
                </a:solidFill>
                <a:latin typeface="Arial"/>
              </a:rPr>
              <a:t>(1977) </a:t>
            </a:r>
            <a:r>
              <a:rPr lang="lv-LV" altLang="lv-LV" sz="1600" b="0">
                <a:solidFill>
                  <a:srgbClr val="000000"/>
                </a:solidFill>
                <a:latin typeface="Arial"/>
              </a:rPr>
              <a:t>par cietušo aizsardzību nestarptautiskajos bruņotajos konfliktos</a:t>
            </a:r>
            <a:endParaRPr lang="lv-LV" altLang="lv-LV" sz="1600" b="0">
              <a:solidFill>
                <a:srgbClr val="000000"/>
              </a:solidFill>
              <a:latin typeface="Arial"/>
              <a:cs typeface="Arial"/>
            </a:endParaRPr>
          </a:p>
          <a:p>
            <a:pPr marL="172720" indent="-172720">
              <a:spcAft>
                <a:spcPts val="600"/>
              </a:spcAft>
              <a:buFont typeface="Arial" panose="020B0604020202020204" pitchFamily="34" charset="0"/>
              <a:buChar char="•"/>
              <a:defRPr/>
            </a:pPr>
            <a:r>
              <a:rPr lang="lv-LV" altLang="lv-LV" sz="1600" b="0">
                <a:solidFill>
                  <a:srgbClr val="000000"/>
                </a:solidFill>
                <a:latin typeface="Arial"/>
              </a:rPr>
              <a:t>III Protokols </a:t>
            </a:r>
            <a:r>
              <a:rPr lang="en-US" altLang="lv-LV" sz="1600" b="0">
                <a:solidFill>
                  <a:srgbClr val="000000"/>
                </a:solidFill>
                <a:latin typeface="Arial"/>
              </a:rPr>
              <a:t>(2005</a:t>
            </a:r>
            <a:r>
              <a:rPr lang="lv-LV" altLang="lv-LV" sz="1600" b="0">
                <a:solidFill>
                  <a:srgbClr val="000000"/>
                </a:solidFill>
                <a:latin typeface="Arial"/>
              </a:rPr>
              <a:t>) par papildu atšķirības emblēmas apstiprināšanu</a:t>
            </a:r>
            <a:endParaRPr lang="lv-LV" altLang="lv-LV" sz="1600" b="0">
              <a:solidFill>
                <a:srgbClr val="000000"/>
              </a:solidFill>
              <a:cs typeface="Arial"/>
            </a:endParaRPr>
          </a:p>
        </p:txBody>
      </p:sp>
      <p:sp>
        <p:nvSpPr>
          <p:cNvPr id="11" name="Rectangle 10">
            <a:extLst>
              <a:ext uri="{FF2B5EF4-FFF2-40B4-BE49-F238E27FC236}">
                <a16:creationId xmlns:a16="http://schemas.microsoft.com/office/drawing/2014/main" id="{247D5534-DFAF-EFA7-88CC-FFE74340F83B}"/>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600" b="1">
                <a:solidFill>
                  <a:schemeClr val="bg1"/>
                </a:solidFill>
                <a:latin typeface="Arial"/>
                <a:cs typeface="Arial"/>
              </a:rPr>
              <a:t>Papildprotokoli</a:t>
            </a:r>
            <a:endParaRPr lang="en-US" sz="1600" b="1">
              <a:solidFill>
                <a:schemeClr val="bg1"/>
              </a:solidFill>
              <a:cs typeface="Arial"/>
            </a:endParaRPr>
          </a:p>
        </p:txBody>
      </p:sp>
      <p:sp>
        <p:nvSpPr>
          <p:cNvPr id="12" name="Freeform 80">
            <a:extLst>
              <a:ext uri="{FF2B5EF4-FFF2-40B4-BE49-F238E27FC236}">
                <a16:creationId xmlns:a16="http://schemas.microsoft.com/office/drawing/2014/main" id="{1836892D-E04D-B781-3424-D64BCA741862}"/>
              </a:ext>
            </a:extLst>
          </p:cNvPr>
          <p:cNvSpPr>
            <a:spLocks noChangeAspect="1" noEditPoints="1"/>
          </p:cNvSpPr>
          <p:nvPr/>
        </p:nvSpPr>
        <p:spPr bwMode="auto">
          <a:xfrm>
            <a:off x="5316567" y="5578978"/>
            <a:ext cx="455905" cy="457200"/>
          </a:xfrm>
          <a:custGeom>
            <a:avLst/>
            <a:gdLst>
              <a:gd name="T0" fmla="*/ 527 w 704"/>
              <a:gd name="T1" fmla="*/ 320 h 706"/>
              <a:gd name="T2" fmla="*/ 588 w 704"/>
              <a:gd name="T3" fmla="*/ 259 h 706"/>
              <a:gd name="T4" fmla="*/ 631 w 704"/>
              <a:gd name="T5" fmla="*/ 214 h 706"/>
              <a:gd name="T6" fmla="*/ 506 w 704"/>
              <a:gd name="T7" fmla="*/ 88 h 706"/>
              <a:gd name="T8" fmla="*/ 462 w 704"/>
              <a:gd name="T9" fmla="*/ 131 h 706"/>
              <a:gd name="T10" fmla="*/ 400 w 704"/>
              <a:gd name="T11" fmla="*/ 194 h 706"/>
              <a:gd name="T12" fmla="*/ 87 w 704"/>
              <a:gd name="T13" fmla="*/ 507 h 706"/>
              <a:gd name="T14" fmla="*/ 31 w 704"/>
              <a:gd name="T15" fmla="*/ 691 h 706"/>
              <a:gd name="T16" fmla="*/ 213 w 704"/>
              <a:gd name="T17" fmla="*/ 635 h 706"/>
              <a:gd name="T18" fmla="*/ 527 w 704"/>
              <a:gd name="T19" fmla="*/ 320 h 706"/>
              <a:gd name="T20" fmla="*/ 527 w 704"/>
              <a:gd name="T21" fmla="*/ 320 h 706"/>
              <a:gd name="T22" fmla="*/ 483 w 704"/>
              <a:gd name="T23" fmla="*/ 153 h 706"/>
              <a:gd name="T24" fmla="*/ 506 w 704"/>
              <a:gd name="T25" fmla="*/ 130 h 706"/>
              <a:gd name="T26" fmla="*/ 589 w 704"/>
              <a:gd name="T27" fmla="*/ 214 h 706"/>
              <a:gd name="T28" fmla="*/ 567 w 704"/>
              <a:gd name="T29" fmla="*/ 237 h 706"/>
              <a:gd name="T30" fmla="*/ 540 w 704"/>
              <a:gd name="T31" fmla="*/ 264 h 706"/>
              <a:gd name="T32" fmla="*/ 456 w 704"/>
              <a:gd name="T33" fmla="*/ 179 h 706"/>
              <a:gd name="T34" fmla="*/ 483 w 704"/>
              <a:gd name="T35" fmla="*/ 153 h 706"/>
              <a:gd name="T36" fmla="*/ 400 w 704"/>
              <a:gd name="T37" fmla="*/ 235 h 706"/>
              <a:gd name="T38" fmla="*/ 431 w 704"/>
              <a:gd name="T39" fmla="*/ 267 h 706"/>
              <a:gd name="T40" fmla="*/ 175 w 704"/>
              <a:gd name="T41" fmla="*/ 525 h 706"/>
              <a:gd name="T42" fmla="*/ 130 w 704"/>
              <a:gd name="T43" fmla="*/ 525 h 706"/>
              <a:gd name="T44" fmla="*/ 121 w 704"/>
              <a:gd name="T45" fmla="*/ 516 h 706"/>
              <a:gd name="T46" fmla="*/ 400 w 704"/>
              <a:gd name="T47" fmla="*/ 235 h 706"/>
              <a:gd name="T48" fmla="*/ 76 w 704"/>
              <a:gd name="T49" fmla="*/ 646 h 706"/>
              <a:gd name="T50" fmla="*/ 82 w 704"/>
              <a:gd name="T51" fmla="*/ 625 h 706"/>
              <a:gd name="T52" fmla="*/ 97 w 704"/>
              <a:gd name="T53" fmla="*/ 639 h 706"/>
              <a:gd name="T54" fmla="*/ 76 w 704"/>
              <a:gd name="T55" fmla="*/ 646 h 706"/>
              <a:gd name="T56" fmla="*/ 128 w 704"/>
              <a:gd name="T57" fmla="*/ 629 h 706"/>
              <a:gd name="T58" fmla="*/ 92 w 704"/>
              <a:gd name="T59" fmla="*/ 592 h 706"/>
              <a:gd name="T60" fmla="*/ 106 w 704"/>
              <a:gd name="T61" fmla="*/ 544 h 706"/>
              <a:gd name="T62" fmla="*/ 117 w 704"/>
              <a:gd name="T63" fmla="*/ 554 h 706"/>
              <a:gd name="T64" fmla="*/ 166 w 704"/>
              <a:gd name="T65" fmla="*/ 554 h 706"/>
              <a:gd name="T66" fmla="*/ 166 w 704"/>
              <a:gd name="T67" fmla="*/ 604 h 706"/>
              <a:gd name="T68" fmla="*/ 177 w 704"/>
              <a:gd name="T69" fmla="*/ 614 h 706"/>
              <a:gd name="T70" fmla="*/ 128 w 704"/>
              <a:gd name="T71" fmla="*/ 629 h 706"/>
              <a:gd name="T72" fmla="*/ 205 w 704"/>
              <a:gd name="T73" fmla="*/ 601 h 706"/>
              <a:gd name="T74" fmla="*/ 197 w 704"/>
              <a:gd name="T75" fmla="*/ 592 h 706"/>
              <a:gd name="T76" fmla="*/ 197 w 704"/>
              <a:gd name="T77" fmla="*/ 545 h 706"/>
              <a:gd name="T78" fmla="*/ 452 w 704"/>
              <a:gd name="T79" fmla="*/ 288 h 706"/>
              <a:gd name="T80" fmla="*/ 484 w 704"/>
              <a:gd name="T81" fmla="*/ 320 h 706"/>
              <a:gd name="T82" fmla="*/ 205 w 704"/>
              <a:gd name="T83" fmla="*/ 601 h 706"/>
              <a:gd name="T84" fmla="*/ 505 w 704"/>
              <a:gd name="T85" fmla="*/ 299 h 706"/>
              <a:gd name="T86" fmla="*/ 422 w 704"/>
              <a:gd name="T87" fmla="*/ 214 h 706"/>
              <a:gd name="T88" fmla="*/ 435 w 704"/>
              <a:gd name="T89" fmla="*/ 201 h 706"/>
              <a:gd name="T90" fmla="*/ 519 w 704"/>
              <a:gd name="T91" fmla="*/ 284 h 706"/>
              <a:gd name="T92" fmla="*/ 505 w 704"/>
              <a:gd name="T93" fmla="*/ 299 h 706"/>
              <a:gd name="T94" fmla="*/ 704 w 704"/>
              <a:gd name="T95" fmla="*/ 706 h 706"/>
              <a:gd name="T96" fmla="*/ 243 w 704"/>
              <a:gd name="T97" fmla="*/ 706 h 706"/>
              <a:gd name="T98" fmla="*/ 243 w 704"/>
              <a:gd name="T99" fmla="*/ 675 h 706"/>
              <a:gd name="T100" fmla="*/ 673 w 704"/>
              <a:gd name="T101" fmla="*/ 675 h 706"/>
              <a:gd name="T102" fmla="*/ 673 w 704"/>
              <a:gd name="T103" fmla="*/ 31 h 706"/>
              <a:gd name="T104" fmla="*/ 31 w 704"/>
              <a:gd name="T105" fmla="*/ 31 h 706"/>
              <a:gd name="T106" fmla="*/ 31 w 704"/>
              <a:gd name="T107" fmla="*/ 691 h 706"/>
              <a:gd name="T108" fmla="*/ 0 w 704"/>
              <a:gd name="T109" fmla="*/ 691 h 706"/>
              <a:gd name="T110" fmla="*/ 0 w 704"/>
              <a:gd name="T111" fmla="*/ 0 h 706"/>
              <a:gd name="T112" fmla="*/ 704 w 704"/>
              <a:gd name="T113" fmla="*/ 0 h 706"/>
              <a:gd name="T114" fmla="*/ 704 w 704"/>
              <a:gd name="T11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4" h="706">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b="1">
              <a:solidFill>
                <a:schemeClr val="accent1"/>
              </a:solidFill>
            </a:endParaRPr>
          </a:p>
        </p:txBody>
      </p:sp>
      <p:pic>
        <p:nvPicPr>
          <p:cNvPr id="11266" name="Picture 2" descr="person holding grey and black rifle">
            <a:extLst>
              <a:ext uri="{FF2B5EF4-FFF2-40B4-BE49-F238E27FC236}">
                <a16:creationId xmlns:a16="http://schemas.microsoft.com/office/drawing/2014/main" id="{DA2FBD6C-FE87-181E-3013-A1D03BF0DD8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7" y="3790951"/>
            <a:ext cx="5473699" cy="238124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9328A55-5B68-52CD-EA4A-DF1422C4290A}"/>
              </a:ext>
            </a:extLst>
          </p:cNvPr>
          <p:cNvSpPr txBox="1"/>
          <p:nvPr/>
        </p:nvSpPr>
        <p:spPr>
          <a:xfrm>
            <a:off x="6275386" y="1819275"/>
            <a:ext cx="5473700" cy="1651635"/>
          </a:xfrm>
          <a:prstGeom prst="rect">
            <a:avLst/>
          </a:prstGeom>
          <a:solidFill>
            <a:srgbClr val="525A72"/>
          </a:solidFill>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spcAft>
                <a:spcPts val="600"/>
              </a:spcAft>
              <a:buSzPct val="100000"/>
            </a:pPr>
            <a:r>
              <a:rPr lang="en-GB" sz="1600" b="1" err="1">
                <a:solidFill>
                  <a:schemeClr val="bg1"/>
                </a:solidFill>
                <a:cs typeface="Arial"/>
              </a:rPr>
              <a:t>Mākslīgā</a:t>
            </a:r>
            <a:r>
              <a:rPr lang="en-GB" sz="1600" b="1">
                <a:solidFill>
                  <a:schemeClr val="bg1"/>
                </a:solidFill>
                <a:cs typeface="Arial"/>
              </a:rPr>
              <a:t> </a:t>
            </a:r>
            <a:r>
              <a:rPr lang="en-GB" sz="1600" b="1" err="1">
                <a:solidFill>
                  <a:schemeClr val="bg1"/>
                </a:solidFill>
                <a:cs typeface="Arial"/>
              </a:rPr>
              <a:t>intelekta</a:t>
            </a:r>
            <a:r>
              <a:rPr lang="en-GB" sz="1600" b="1">
                <a:solidFill>
                  <a:schemeClr val="bg1"/>
                </a:solidFill>
                <a:cs typeface="Arial"/>
              </a:rPr>
              <a:t> un </a:t>
            </a:r>
            <a:r>
              <a:rPr lang="en-GB" sz="1600" b="1" err="1">
                <a:solidFill>
                  <a:schemeClr val="bg1"/>
                </a:solidFill>
                <a:cs typeface="Arial"/>
              </a:rPr>
              <a:t>autonomo</a:t>
            </a:r>
            <a:r>
              <a:rPr lang="en-GB" sz="1600" b="1">
                <a:solidFill>
                  <a:schemeClr val="bg1"/>
                </a:solidFill>
                <a:cs typeface="Arial"/>
              </a:rPr>
              <a:t> </a:t>
            </a:r>
            <a:r>
              <a:rPr lang="en-GB" sz="1600" b="1" err="1">
                <a:solidFill>
                  <a:schemeClr val="bg1"/>
                </a:solidFill>
                <a:cs typeface="Arial"/>
              </a:rPr>
              <a:t>ieroču</a:t>
            </a:r>
            <a:r>
              <a:rPr lang="en-GB" sz="1600" b="1">
                <a:solidFill>
                  <a:schemeClr val="bg1"/>
                </a:solidFill>
                <a:cs typeface="Arial"/>
              </a:rPr>
              <a:t> </a:t>
            </a:r>
            <a:r>
              <a:rPr lang="en-GB" sz="1600" b="1" err="1">
                <a:solidFill>
                  <a:schemeClr val="bg1"/>
                </a:solidFill>
                <a:cs typeface="Arial"/>
              </a:rPr>
              <a:t>sistēmu</a:t>
            </a:r>
            <a:r>
              <a:rPr lang="en-GB" sz="1600" b="1">
                <a:solidFill>
                  <a:schemeClr val="bg1"/>
                </a:solidFill>
                <a:cs typeface="Arial"/>
              </a:rPr>
              <a:t> </a:t>
            </a:r>
            <a:r>
              <a:rPr lang="en-GB" sz="1600" b="1" err="1">
                <a:solidFill>
                  <a:schemeClr val="bg1"/>
                </a:solidFill>
                <a:cs typeface="Arial"/>
              </a:rPr>
              <a:t>attīstība</a:t>
            </a:r>
            <a:r>
              <a:rPr lang="lv-LV" sz="1600" b="1">
                <a:solidFill>
                  <a:schemeClr val="bg1"/>
                </a:solidFill>
                <a:cs typeface="Arial"/>
              </a:rPr>
              <a:t> ir radījusi </a:t>
            </a:r>
            <a:r>
              <a:rPr lang="en-GB" sz="1600" b="1" err="1">
                <a:solidFill>
                  <a:schemeClr val="bg1"/>
                </a:solidFill>
                <a:cs typeface="Arial"/>
              </a:rPr>
              <a:t>izaicinājum</a:t>
            </a:r>
            <a:r>
              <a:rPr lang="lv-LV" sz="1600" b="1">
                <a:solidFill>
                  <a:schemeClr val="bg1"/>
                </a:solidFill>
                <a:cs typeface="Arial"/>
              </a:rPr>
              <a:t>us </a:t>
            </a:r>
            <a:r>
              <a:rPr lang="en-GB" sz="1600" b="1" err="1">
                <a:solidFill>
                  <a:schemeClr val="bg1"/>
                </a:solidFill>
                <a:cs typeface="Arial"/>
              </a:rPr>
              <a:t>Ženēvas</a:t>
            </a:r>
            <a:r>
              <a:rPr lang="en-GB" sz="1600" b="1">
                <a:solidFill>
                  <a:schemeClr val="bg1"/>
                </a:solidFill>
                <a:cs typeface="Arial"/>
              </a:rPr>
              <a:t> </a:t>
            </a:r>
            <a:r>
              <a:rPr lang="en-GB" sz="1600" b="1" err="1">
                <a:solidFill>
                  <a:schemeClr val="bg1"/>
                </a:solidFill>
                <a:cs typeface="Arial"/>
              </a:rPr>
              <a:t>konvencijas</a:t>
            </a:r>
            <a:r>
              <a:rPr lang="en-GB" sz="1600" b="1">
                <a:solidFill>
                  <a:schemeClr val="bg1"/>
                </a:solidFill>
                <a:cs typeface="Arial"/>
              </a:rPr>
              <a:t>  in</a:t>
            </a:r>
            <a:r>
              <a:rPr lang="lv-LV" sz="1600" b="1">
                <a:solidFill>
                  <a:schemeClr val="bg1"/>
                </a:solidFill>
                <a:cs typeface="Arial"/>
              </a:rPr>
              <a:t>ter</a:t>
            </a:r>
            <a:r>
              <a:rPr lang="en-GB" sz="1600" b="1" err="1">
                <a:solidFill>
                  <a:schemeClr val="bg1"/>
                </a:solidFill>
                <a:cs typeface="Arial"/>
              </a:rPr>
              <a:t>pretēšanā</a:t>
            </a:r>
            <a:r>
              <a:rPr lang="en-GB" sz="1600" b="1">
                <a:solidFill>
                  <a:schemeClr val="bg1"/>
                </a:solidFill>
                <a:cs typeface="Arial"/>
              </a:rPr>
              <a:t> un </a:t>
            </a:r>
            <a:r>
              <a:rPr lang="en-GB" sz="1600" b="1" err="1">
                <a:solidFill>
                  <a:schemeClr val="bg1"/>
                </a:solidFill>
                <a:cs typeface="Arial"/>
              </a:rPr>
              <a:t>piemērošanā</a:t>
            </a:r>
            <a:r>
              <a:rPr lang="en-GB" sz="1600" b="1">
                <a:solidFill>
                  <a:schemeClr val="bg1"/>
                </a:solidFill>
                <a:cs typeface="Arial"/>
              </a:rPr>
              <a:t>.</a:t>
            </a:r>
          </a:p>
        </p:txBody>
      </p:sp>
      <p:sp>
        <p:nvSpPr>
          <p:cNvPr id="2" name="Title 18">
            <a:extLst>
              <a:ext uri="{FF2B5EF4-FFF2-40B4-BE49-F238E27FC236}">
                <a16:creationId xmlns:a16="http://schemas.microsoft.com/office/drawing/2014/main" id="{C7C56C44-5ED3-C731-B644-67AB4399D2A2}"/>
              </a:ext>
            </a:extLst>
          </p:cNvPr>
          <p:cNvSpPr>
            <a:spLocks noGrp="1"/>
          </p:cNvSpPr>
          <p:nvPr>
            <p:ph type="title"/>
          </p:nvPr>
        </p:nvSpPr>
        <p:spPr>
          <a:xfrm>
            <a:off x="442913" y="432001"/>
            <a:ext cx="11306175" cy="1387274"/>
          </a:xfrm>
        </p:spPr>
        <p:txBody>
          <a:bodyPr vert="horz"/>
          <a:lstStyle/>
          <a:p>
            <a:r>
              <a:rPr lang="lv-LV" altLang="lv-LV"/>
              <a:t>Ženēvas konvencija mūsdienās</a:t>
            </a:r>
            <a:endParaRPr lang="en-US"/>
          </a:p>
        </p:txBody>
      </p:sp>
      <p:grpSp>
        <p:nvGrpSpPr>
          <p:cNvPr id="19" name="Group 18">
            <a:extLst>
              <a:ext uri="{FF2B5EF4-FFF2-40B4-BE49-F238E27FC236}">
                <a16:creationId xmlns:a16="http://schemas.microsoft.com/office/drawing/2014/main" id="{88393D8B-99D7-340B-0888-2BFA6787C17D}"/>
              </a:ext>
            </a:extLst>
          </p:cNvPr>
          <p:cNvGrpSpPr/>
          <p:nvPr/>
        </p:nvGrpSpPr>
        <p:grpSpPr>
          <a:xfrm>
            <a:off x="8777593" y="126781"/>
            <a:ext cx="2971495" cy="217488"/>
            <a:chOff x="8296821" y="126781"/>
            <a:chExt cx="2971495" cy="217488"/>
          </a:xfrm>
        </p:grpSpPr>
        <p:sp>
          <p:nvSpPr>
            <p:cNvPr id="20" name="Rectangle 19">
              <a:extLst>
                <a:ext uri="{FF2B5EF4-FFF2-40B4-BE49-F238E27FC236}">
                  <a16:creationId xmlns:a16="http://schemas.microsoft.com/office/drawing/2014/main" id="{3ADE85AB-381F-9C6F-3301-A24C254510ED}"/>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405B3202-1EED-BBD9-9D1D-1066EB6081B4}"/>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2" name="Rectangle 21">
              <a:extLst>
                <a:ext uri="{FF2B5EF4-FFF2-40B4-BE49-F238E27FC236}">
                  <a16:creationId xmlns:a16="http://schemas.microsoft.com/office/drawing/2014/main" id="{F3A2FB56-7F36-99BA-BE25-FA897195FD39}"/>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3" name="Rectangle 22">
              <a:extLst>
                <a:ext uri="{FF2B5EF4-FFF2-40B4-BE49-F238E27FC236}">
                  <a16:creationId xmlns:a16="http://schemas.microsoft.com/office/drawing/2014/main" id="{A421DF7A-DC46-BA0A-72B7-A09A4B6E91A1}"/>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47D7AFB0-49D0-9CD7-0ADD-426818D74D3D}"/>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02508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8EDDF97-BCD9-5403-0F99-DB1EE700E6A6}"/>
              </a:ext>
            </a:extLst>
          </p:cNvPr>
          <p:cNvSpPr>
            <a:spLocks noGrp="1"/>
          </p:cNvSpPr>
          <p:nvPr>
            <p:ph type="title"/>
          </p:nvPr>
        </p:nvSpPr>
        <p:spPr>
          <a:xfrm>
            <a:off x="442913" y="432001"/>
            <a:ext cx="11306175" cy="1387274"/>
          </a:xfrm>
        </p:spPr>
        <p:txBody>
          <a:bodyPr vert="horz">
            <a:normAutofit/>
          </a:bodyPr>
          <a:lstStyle/>
          <a:p>
            <a:r>
              <a:rPr lang="lv-LV" altLang="lv-LV"/>
              <a:t>Civilās aizsardzības sistēmas attīstība Latvijā</a:t>
            </a:r>
            <a:endParaRPr lang="en-US"/>
          </a:p>
        </p:txBody>
      </p:sp>
      <p:sp>
        <p:nvSpPr>
          <p:cNvPr id="4" name="Slide Number Placeholder 3">
            <a:extLst>
              <a:ext uri="{FF2B5EF4-FFF2-40B4-BE49-F238E27FC236}">
                <a16:creationId xmlns:a16="http://schemas.microsoft.com/office/drawing/2014/main" id="{C2E6991F-7CBA-2808-3AC6-021A10FF1EE9}"/>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1</a:t>
            </a:fld>
            <a:endParaRPr lang="en-GB"/>
          </a:p>
        </p:txBody>
      </p:sp>
      <p:sp>
        <p:nvSpPr>
          <p:cNvPr id="6" name="Rectangle 5">
            <a:extLst>
              <a:ext uri="{FF2B5EF4-FFF2-40B4-BE49-F238E27FC236}">
                <a16:creationId xmlns:a16="http://schemas.microsoft.com/office/drawing/2014/main" id="{D7CBBDBC-0DB9-9719-D316-17A0AFD77362}"/>
              </a:ext>
            </a:extLst>
          </p:cNvPr>
          <p:cNvSpPr/>
          <p:nvPr/>
        </p:nvSpPr>
        <p:spPr>
          <a:xfrm>
            <a:off x="-1" y="3929468"/>
            <a:ext cx="12192000" cy="132539"/>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cxnSp>
        <p:nvCxnSpPr>
          <p:cNvPr id="14" name="Straight Connector 13">
            <a:extLst>
              <a:ext uri="{FF2B5EF4-FFF2-40B4-BE49-F238E27FC236}">
                <a16:creationId xmlns:a16="http://schemas.microsoft.com/office/drawing/2014/main" id="{932BCA9B-21E1-3F4A-6266-7D1A2FF7CC8D}"/>
              </a:ext>
            </a:extLst>
          </p:cNvPr>
          <p:cNvCxnSpPr>
            <a:cxnSpLocks/>
          </p:cNvCxnSpPr>
          <p:nvPr/>
        </p:nvCxnSpPr>
        <p:spPr>
          <a:xfrm>
            <a:off x="1" y="3995738"/>
            <a:ext cx="12191998" cy="0"/>
          </a:xfrm>
          <a:prstGeom prst="line">
            <a:avLst/>
          </a:prstGeom>
          <a:ln w="3175" cap="sq">
            <a:solidFill>
              <a:schemeClr val="bg1">
                <a:lumMod val="65000"/>
              </a:schemeClr>
            </a:solidFill>
            <a:prstDash val="lgDash"/>
          </a:ln>
        </p:spPr>
        <p:style>
          <a:lnRef idx="1">
            <a:schemeClr val="accent1"/>
          </a:lnRef>
          <a:fillRef idx="0">
            <a:schemeClr val="accent1"/>
          </a:fillRef>
          <a:effectRef idx="0">
            <a:schemeClr val="dk1"/>
          </a:effectRef>
          <a:fontRef idx="minor">
            <a:schemeClr val="lt1"/>
          </a:fontRef>
        </p:style>
      </p:cxnSp>
      <p:cxnSp>
        <p:nvCxnSpPr>
          <p:cNvPr id="23" name="Straight Connector 22">
            <a:extLst>
              <a:ext uri="{FF2B5EF4-FFF2-40B4-BE49-F238E27FC236}">
                <a16:creationId xmlns:a16="http://schemas.microsoft.com/office/drawing/2014/main" id="{04F56DB3-96CB-AD2C-A485-90852057305F}"/>
              </a:ext>
            </a:extLst>
          </p:cNvPr>
          <p:cNvCxnSpPr>
            <a:cxnSpLocks/>
          </p:cNvCxnSpPr>
          <p:nvPr/>
        </p:nvCxnSpPr>
        <p:spPr>
          <a:xfrm flipV="1">
            <a:off x="442913" y="1819275"/>
            <a:ext cx="0" cy="2071395"/>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25" name="Rectangle 24">
            <a:extLst>
              <a:ext uri="{FF2B5EF4-FFF2-40B4-BE49-F238E27FC236}">
                <a16:creationId xmlns:a16="http://schemas.microsoft.com/office/drawing/2014/main" id="{E2502C23-6D86-F9C0-0E5B-4DC73419D27C}"/>
              </a:ext>
            </a:extLst>
          </p:cNvPr>
          <p:cNvSpPr>
            <a:spLocks noChangeArrowheads="1"/>
          </p:cNvSpPr>
          <p:nvPr/>
        </p:nvSpPr>
        <p:spPr bwMode="auto">
          <a:xfrm>
            <a:off x="442913" y="1833448"/>
            <a:ext cx="2033586" cy="918200"/>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US" sz="1600" b="1" kern="1200">
                <a:solidFill>
                  <a:srgbClr val="A8192D"/>
                </a:solidFill>
              </a:rPr>
              <a:t>1934</a:t>
            </a:r>
            <a:endParaRPr lang="en-US" sz="1600" b="1">
              <a:solidFill>
                <a:srgbClr val="A8192D"/>
              </a:solidFill>
              <a:cs typeface="Arial"/>
            </a:endParaRPr>
          </a:p>
          <a:p>
            <a:pPr marL="0" lvl="1" defTabSz="400050">
              <a:spcBef>
                <a:spcPct val="0"/>
              </a:spcBef>
              <a:spcAft>
                <a:spcPts val="200"/>
              </a:spcAft>
            </a:pPr>
            <a:r>
              <a:rPr lang="en-GB" sz="1400" kern="1200" err="1"/>
              <a:t>Likums</a:t>
            </a:r>
            <a:r>
              <a:rPr lang="en-GB" sz="1400" kern="1200"/>
              <a:t> "Par </a:t>
            </a:r>
            <a:r>
              <a:rPr lang="en-GB" sz="1400" kern="1200" err="1"/>
              <a:t>pasīvo</a:t>
            </a:r>
            <a:r>
              <a:rPr lang="en-GB" sz="1400" kern="1200"/>
              <a:t> </a:t>
            </a:r>
            <a:r>
              <a:rPr lang="en-GB" sz="1400" kern="1200" err="1"/>
              <a:t>aizsardzību</a:t>
            </a:r>
            <a:r>
              <a:rPr lang="en-GB" sz="1400" kern="1200"/>
              <a:t> </a:t>
            </a:r>
            <a:r>
              <a:rPr lang="en-GB" sz="1400" kern="1200" err="1"/>
              <a:t>pret</a:t>
            </a:r>
            <a:r>
              <a:rPr lang="en-GB" sz="1400" kern="1200"/>
              <a:t> </a:t>
            </a:r>
            <a:r>
              <a:rPr lang="en-GB" sz="1400" kern="1200" err="1"/>
              <a:t>uzbrukumiem</a:t>
            </a:r>
            <a:r>
              <a:rPr lang="en-GB" sz="1400" kern="1200"/>
              <a:t> no </a:t>
            </a:r>
            <a:r>
              <a:rPr lang="en-GB" sz="1400" kern="1200" err="1"/>
              <a:t>gaisa</a:t>
            </a:r>
            <a:r>
              <a:rPr lang="en-GB" sz="1400" kern="1200"/>
              <a:t>"</a:t>
            </a:r>
          </a:p>
        </p:txBody>
      </p:sp>
      <p:cxnSp>
        <p:nvCxnSpPr>
          <p:cNvPr id="31" name="Straight Connector 30">
            <a:extLst>
              <a:ext uri="{FF2B5EF4-FFF2-40B4-BE49-F238E27FC236}">
                <a16:creationId xmlns:a16="http://schemas.microsoft.com/office/drawing/2014/main" id="{C54AA81E-A039-D13B-72C8-7A5E53B9A1BD}"/>
              </a:ext>
            </a:extLst>
          </p:cNvPr>
          <p:cNvCxnSpPr>
            <a:cxnSpLocks/>
          </p:cNvCxnSpPr>
          <p:nvPr/>
        </p:nvCxnSpPr>
        <p:spPr>
          <a:xfrm flipV="1">
            <a:off x="3268662"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2" name="Rectangle 31">
            <a:extLst>
              <a:ext uri="{FF2B5EF4-FFF2-40B4-BE49-F238E27FC236}">
                <a16:creationId xmlns:a16="http://schemas.microsoft.com/office/drawing/2014/main" id="{AB4AD932-40F5-832B-F879-6936924D1F8C}"/>
              </a:ext>
            </a:extLst>
          </p:cNvPr>
          <p:cNvSpPr>
            <a:spLocks noChangeArrowheads="1"/>
          </p:cNvSpPr>
          <p:nvPr/>
        </p:nvSpPr>
        <p:spPr bwMode="auto">
          <a:xfrm>
            <a:off x="3264605" y="1833448"/>
            <a:ext cx="2831395" cy="1133644"/>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56</a:t>
            </a:r>
            <a:r>
              <a:rPr lang="en-GB" sz="1600" b="1">
                <a:solidFill>
                  <a:srgbClr val="A8192D"/>
                </a:solidFill>
              </a:rPr>
              <a:t> </a:t>
            </a:r>
            <a:r>
              <a:rPr lang="en-US" sz="1600" b="1">
                <a:solidFill>
                  <a:srgbClr val="A8192D"/>
                </a:solidFill>
                <a:cs typeface="Arial"/>
              </a:rPr>
              <a:t> </a:t>
            </a:r>
          </a:p>
          <a:p>
            <a:pPr marL="0" lvl="1" defTabSz="400050">
              <a:spcBef>
                <a:spcPct val="0"/>
              </a:spcBef>
              <a:spcAft>
                <a:spcPts val="200"/>
              </a:spcAft>
            </a:pPr>
            <a:r>
              <a:rPr lang="en-GB" sz="1400" kern="1200" err="1"/>
              <a:t>Vietējā</a:t>
            </a:r>
            <a:r>
              <a:rPr lang="en-GB" sz="1400" kern="1200"/>
              <a:t> </a:t>
            </a:r>
            <a:r>
              <a:rPr lang="en-GB" sz="1400" kern="1200" err="1"/>
              <a:t>pasīvā</a:t>
            </a:r>
            <a:r>
              <a:rPr lang="en-GB" sz="1400" kern="1200"/>
              <a:t> </a:t>
            </a:r>
            <a:r>
              <a:rPr lang="en-GB" sz="1400" kern="1200" err="1"/>
              <a:t>pretgaisa</a:t>
            </a:r>
            <a:r>
              <a:rPr lang="en-GB" sz="1400" kern="1200"/>
              <a:t> </a:t>
            </a:r>
            <a:r>
              <a:rPr lang="en-GB" sz="1400" kern="1200" err="1"/>
              <a:t>aizsardzības</a:t>
            </a:r>
            <a:r>
              <a:rPr lang="en-GB" sz="1400" kern="1200"/>
              <a:t> </a:t>
            </a:r>
            <a:r>
              <a:rPr lang="en-GB" sz="1400" kern="1200" err="1"/>
              <a:t>sistēma</a:t>
            </a:r>
            <a:r>
              <a:rPr lang="en-GB" sz="1400" kern="1200"/>
              <a:t> </a:t>
            </a:r>
            <a:r>
              <a:rPr lang="en-GB" sz="1400" kern="1200" err="1"/>
              <a:t>iekļauta</a:t>
            </a:r>
            <a:r>
              <a:rPr lang="en-GB" sz="1400" kern="1200"/>
              <a:t> </a:t>
            </a:r>
            <a:r>
              <a:rPr lang="en-GB" sz="1400" kern="1200" err="1"/>
              <a:t>valsts</a:t>
            </a:r>
            <a:r>
              <a:rPr lang="en-GB" sz="1400" kern="1200"/>
              <a:t> </a:t>
            </a:r>
            <a:r>
              <a:rPr lang="en-GB" sz="1400" kern="1200" err="1"/>
              <a:t>aizsardzības</a:t>
            </a:r>
            <a:r>
              <a:rPr lang="en-GB" sz="1400" kern="1200"/>
              <a:t> </a:t>
            </a:r>
            <a:r>
              <a:rPr lang="en-GB" sz="1400" kern="1200" err="1"/>
              <a:t>sistēmā</a:t>
            </a:r>
            <a:endParaRPr lang="en-GB" sz="1400" kern="1200"/>
          </a:p>
        </p:txBody>
      </p:sp>
      <p:cxnSp>
        <p:nvCxnSpPr>
          <p:cNvPr id="33" name="Straight Connector 32">
            <a:extLst>
              <a:ext uri="{FF2B5EF4-FFF2-40B4-BE49-F238E27FC236}">
                <a16:creationId xmlns:a16="http://schemas.microsoft.com/office/drawing/2014/main" id="{5F28D454-B706-BCFD-F77C-E34371A72F51}"/>
              </a:ext>
            </a:extLst>
          </p:cNvPr>
          <p:cNvCxnSpPr>
            <a:cxnSpLocks/>
          </p:cNvCxnSpPr>
          <p:nvPr/>
        </p:nvCxnSpPr>
        <p:spPr>
          <a:xfrm flipV="1">
            <a:off x="6095206"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4" name="Rectangle 33">
            <a:extLst>
              <a:ext uri="{FF2B5EF4-FFF2-40B4-BE49-F238E27FC236}">
                <a16:creationId xmlns:a16="http://schemas.microsoft.com/office/drawing/2014/main" id="{396C6A7B-1431-5CE2-C5EF-5BD810DB8F4A}"/>
              </a:ext>
            </a:extLst>
          </p:cNvPr>
          <p:cNvSpPr>
            <a:spLocks noChangeArrowheads="1"/>
          </p:cNvSpPr>
          <p:nvPr/>
        </p:nvSpPr>
        <p:spPr bwMode="auto">
          <a:xfrm>
            <a:off x="6086297" y="1833448"/>
            <a:ext cx="2830352" cy="1133644"/>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86</a:t>
            </a:r>
            <a:r>
              <a:rPr lang="en-US" sz="1600" b="1">
                <a:solidFill>
                  <a:srgbClr val="A8192D"/>
                </a:solidFill>
                <a:cs typeface="Arial"/>
              </a:rPr>
              <a:t> </a:t>
            </a:r>
          </a:p>
          <a:p>
            <a:pPr marL="0" lvl="1" defTabSz="400050">
              <a:spcBef>
                <a:spcPct val="0"/>
              </a:spcBef>
              <a:spcAft>
                <a:spcPts val="200"/>
              </a:spcAft>
            </a:pPr>
            <a:r>
              <a:rPr lang="en-GB" sz="1400" kern="1200" err="1"/>
              <a:t>Galvenā</a:t>
            </a:r>
            <a:r>
              <a:rPr lang="en-GB" sz="1400" kern="1200"/>
              <a:t> </a:t>
            </a:r>
            <a:r>
              <a:rPr lang="en-GB" sz="1400" kern="1200" err="1"/>
              <a:t>prioritāte</a:t>
            </a:r>
            <a:r>
              <a:rPr lang="en-GB" sz="1400" kern="1200"/>
              <a:t> – </a:t>
            </a:r>
            <a:r>
              <a:rPr lang="en-GB" sz="1400" kern="1200" err="1"/>
              <a:t>gatavība</a:t>
            </a:r>
            <a:r>
              <a:rPr lang="en-GB" sz="1400" kern="1200"/>
              <a:t> </a:t>
            </a:r>
            <a:r>
              <a:rPr lang="en-GB" sz="1400" kern="1200" err="1"/>
              <a:t>likvidēt</a:t>
            </a:r>
            <a:r>
              <a:rPr lang="en-GB" sz="1400" kern="1200"/>
              <a:t> </a:t>
            </a:r>
            <a:r>
              <a:rPr lang="en-GB" sz="1400" kern="1200" err="1"/>
              <a:t>miera</a:t>
            </a:r>
            <a:r>
              <a:rPr lang="en-GB" sz="1400" kern="1200"/>
              <a:t> </a:t>
            </a:r>
            <a:r>
              <a:rPr lang="en-GB" sz="1400" kern="1200" err="1"/>
              <a:t>laika</a:t>
            </a:r>
            <a:r>
              <a:rPr lang="en-GB" sz="1400" kern="1200"/>
              <a:t> </a:t>
            </a:r>
            <a:r>
              <a:rPr lang="en-GB" sz="1400" kern="1200" err="1"/>
              <a:t>avārijas</a:t>
            </a:r>
            <a:r>
              <a:rPr lang="en-GB" sz="1400" kern="1200"/>
              <a:t> un </a:t>
            </a:r>
            <a:r>
              <a:rPr lang="en-GB" sz="1400" kern="1200" err="1"/>
              <a:t>katastrofu</a:t>
            </a:r>
            <a:r>
              <a:rPr lang="en-GB" sz="1400" kern="1200"/>
              <a:t> </a:t>
            </a:r>
            <a:r>
              <a:rPr lang="en-GB" sz="1400" kern="1200" err="1"/>
              <a:t>sekas</a:t>
            </a:r>
            <a:endParaRPr lang="en-GB" sz="1400" kern="1200"/>
          </a:p>
        </p:txBody>
      </p:sp>
      <p:cxnSp>
        <p:nvCxnSpPr>
          <p:cNvPr id="35" name="Straight Connector 34">
            <a:extLst>
              <a:ext uri="{FF2B5EF4-FFF2-40B4-BE49-F238E27FC236}">
                <a16:creationId xmlns:a16="http://schemas.microsoft.com/office/drawing/2014/main" id="{11DDC6AF-9CDB-F354-0C7C-E49AE96FBFFA}"/>
              </a:ext>
            </a:extLst>
          </p:cNvPr>
          <p:cNvCxnSpPr>
            <a:cxnSpLocks/>
          </p:cNvCxnSpPr>
          <p:nvPr/>
        </p:nvCxnSpPr>
        <p:spPr>
          <a:xfrm flipV="1">
            <a:off x="8921751" y="1819275"/>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6" name="Rectangle 35">
            <a:extLst>
              <a:ext uri="{FF2B5EF4-FFF2-40B4-BE49-F238E27FC236}">
                <a16:creationId xmlns:a16="http://schemas.microsoft.com/office/drawing/2014/main" id="{F073B3DC-7BAA-5BAE-951A-40D5233FA2B9}"/>
              </a:ext>
            </a:extLst>
          </p:cNvPr>
          <p:cNvSpPr>
            <a:spLocks noChangeArrowheads="1"/>
          </p:cNvSpPr>
          <p:nvPr/>
        </p:nvSpPr>
        <p:spPr bwMode="auto">
          <a:xfrm>
            <a:off x="8916957" y="1833448"/>
            <a:ext cx="1947893" cy="918200"/>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2016 </a:t>
            </a:r>
          </a:p>
          <a:p>
            <a:pPr marL="0" lvl="1" defTabSz="400050">
              <a:spcBef>
                <a:spcPct val="0"/>
              </a:spcBef>
              <a:spcAft>
                <a:spcPts val="200"/>
              </a:spcAft>
            </a:pPr>
            <a:r>
              <a:rPr lang="en-GB" sz="1400" kern="1200" err="1"/>
              <a:t>Civilās</a:t>
            </a:r>
            <a:r>
              <a:rPr lang="en-GB" sz="1400" kern="1200"/>
              <a:t> </a:t>
            </a:r>
            <a:r>
              <a:rPr lang="en-GB" sz="1400" kern="1200" err="1"/>
              <a:t>aizsardzības</a:t>
            </a:r>
            <a:r>
              <a:rPr lang="en-GB" sz="1400" kern="1200"/>
              <a:t> un </a:t>
            </a:r>
            <a:r>
              <a:rPr lang="en-GB" sz="1400" kern="1200" err="1"/>
              <a:t>katastrof</a:t>
            </a:r>
            <a:r>
              <a:rPr lang="lv-LV" sz="1400" kern="1200"/>
              <a:t>as</a:t>
            </a:r>
            <a:r>
              <a:rPr lang="en-GB" sz="1400" kern="1200"/>
              <a:t> </a:t>
            </a:r>
            <a:r>
              <a:rPr lang="en-GB" sz="1400" kern="1200" err="1"/>
              <a:t>pārvaldīšanas</a:t>
            </a:r>
            <a:r>
              <a:rPr lang="en-GB" sz="1400" kern="1200"/>
              <a:t> </a:t>
            </a:r>
            <a:r>
              <a:rPr lang="en-GB" sz="1400" kern="1200" err="1"/>
              <a:t>likums</a:t>
            </a:r>
            <a:endParaRPr lang="en-GB" sz="1400" kern="1200"/>
          </a:p>
        </p:txBody>
      </p:sp>
      <p:cxnSp>
        <p:nvCxnSpPr>
          <p:cNvPr id="37" name="Straight Connector 36">
            <a:extLst>
              <a:ext uri="{FF2B5EF4-FFF2-40B4-BE49-F238E27FC236}">
                <a16:creationId xmlns:a16="http://schemas.microsoft.com/office/drawing/2014/main" id="{A46BF1CF-DFC8-83B0-E20B-B801DF996314}"/>
              </a:ext>
            </a:extLst>
          </p:cNvPr>
          <p:cNvCxnSpPr>
            <a:cxnSpLocks/>
          </p:cNvCxnSpPr>
          <p:nvPr/>
        </p:nvCxnSpPr>
        <p:spPr>
          <a:xfrm flipV="1">
            <a:off x="1855391"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38" name="Rectangle 37">
            <a:extLst>
              <a:ext uri="{FF2B5EF4-FFF2-40B4-BE49-F238E27FC236}">
                <a16:creationId xmlns:a16="http://schemas.microsoft.com/office/drawing/2014/main" id="{804A7E18-1478-DDF3-ADA4-3D9CCE579A6A}"/>
              </a:ext>
            </a:extLst>
          </p:cNvPr>
          <p:cNvSpPr>
            <a:spLocks noChangeArrowheads="1"/>
          </p:cNvSpPr>
          <p:nvPr/>
        </p:nvSpPr>
        <p:spPr bwMode="auto">
          <a:xfrm>
            <a:off x="1874200" y="4479429"/>
            <a:ext cx="2799400" cy="948978"/>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en-GB" sz="1600" b="1" kern="1200">
                <a:solidFill>
                  <a:srgbClr val="A8192D"/>
                </a:solidFill>
              </a:rPr>
              <a:t>1945 </a:t>
            </a:r>
          </a:p>
          <a:p>
            <a:pPr marL="0" lvl="1" defTabSz="400050">
              <a:spcBef>
                <a:spcPct val="0"/>
              </a:spcBef>
              <a:spcAft>
                <a:spcPts val="200"/>
              </a:spcAft>
            </a:pPr>
            <a:r>
              <a:rPr lang="en-GB" sz="1600" b="1" kern="1200">
                <a:solidFill>
                  <a:srgbClr val="A8192D"/>
                </a:solidFill>
              </a:rPr>
              <a:t>(</a:t>
            </a:r>
            <a:r>
              <a:rPr lang="en-GB" sz="1600" b="1" kern="1200" err="1">
                <a:solidFill>
                  <a:srgbClr val="A8192D"/>
                </a:solidFill>
              </a:rPr>
              <a:t>Hirosima</a:t>
            </a:r>
            <a:r>
              <a:rPr lang="en-GB" sz="1600" b="1" kern="1200">
                <a:solidFill>
                  <a:srgbClr val="A8192D"/>
                </a:solidFill>
              </a:rPr>
              <a:t>, Nagasaki)</a:t>
            </a:r>
          </a:p>
          <a:p>
            <a:pPr marL="0" lvl="1" defTabSz="400050">
              <a:spcBef>
                <a:spcPct val="0"/>
              </a:spcBef>
              <a:spcAft>
                <a:spcPts val="200"/>
              </a:spcAft>
            </a:pPr>
            <a:r>
              <a:rPr lang="en-GB" sz="1400" kern="1200" err="1"/>
              <a:t>Aizsardzība</a:t>
            </a:r>
            <a:r>
              <a:rPr lang="en-GB" sz="1400" kern="1200"/>
              <a:t> </a:t>
            </a:r>
            <a:r>
              <a:rPr lang="en-GB" sz="1400" kern="1200" err="1"/>
              <a:t>pret</a:t>
            </a:r>
            <a:r>
              <a:rPr lang="en-GB" sz="1400" kern="1200"/>
              <a:t> </a:t>
            </a:r>
            <a:r>
              <a:rPr lang="en-GB" sz="1400" kern="1200" err="1"/>
              <a:t>kodolkaru</a:t>
            </a:r>
            <a:endParaRPr lang="en-GB" sz="1400" kern="1200"/>
          </a:p>
        </p:txBody>
      </p:sp>
      <p:cxnSp>
        <p:nvCxnSpPr>
          <p:cNvPr id="39" name="Straight Connector 38">
            <a:extLst>
              <a:ext uri="{FF2B5EF4-FFF2-40B4-BE49-F238E27FC236}">
                <a16:creationId xmlns:a16="http://schemas.microsoft.com/office/drawing/2014/main" id="{C80CC3EA-EA63-2F33-5F2C-1EC39DF6547A}"/>
              </a:ext>
            </a:extLst>
          </p:cNvPr>
          <p:cNvCxnSpPr>
            <a:cxnSpLocks/>
          </p:cNvCxnSpPr>
          <p:nvPr/>
        </p:nvCxnSpPr>
        <p:spPr>
          <a:xfrm flipV="1">
            <a:off x="4682728" y="4138613"/>
            <a:ext cx="0" cy="2033587"/>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0" name="Rectangle 39">
            <a:extLst>
              <a:ext uri="{FF2B5EF4-FFF2-40B4-BE49-F238E27FC236}">
                <a16:creationId xmlns:a16="http://schemas.microsoft.com/office/drawing/2014/main" id="{466527E1-DA6E-0C14-7434-0389E27B9141}"/>
              </a:ext>
            </a:extLst>
          </p:cNvPr>
          <p:cNvSpPr>
            <a:spLocks noChangeArrowheads="1"/>
          </p:cNvSpPr>
          <p:nvPr/>
        </p:nvSpPr>
        <p:spPr bwMode="auto">
          <a:xfrm>
            <a:off x="4712382" y="4479429"/>
            <a:ext cx="2795432" cy="1438758"/>
          </a:xfrm>
          <a:prstGeom prst="rect">
            <a:avLst/>
          </a:prstGeom>
          <a:noFill/>
          <a:ln w="9525">
            <a:noFill/>
            <a:miter lim="800000"/>
            <a:headEnd/>
            <a:tailEnd/>
          </a:ln>
        </p:spPr>
        <p:txBody>
          <a:bodyPr vert="horz" wrap="square" lIns="72000" tIns="0" rIns="72000" bIns="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defTabSz="400050">
              <a:spcBef>
                <a:spcPct val="0"/>
              </a:spcBef>
              <a:spcAft>
                <a:spcPts val="200"/>
              </a:spcAft>
            </a:pPr>
            <a:r>
              <a:rPr lang="lv-LV" sz="1600" b="1" kern="1200">
                <a:solidFill>
                  <a:srgbClr val="A8192D"/>
                </a:solidFill>
              </a:rPr>
              <a:t>1961</a:t>
            </a:r>
          </a:p>
          <a:p>
            <a:pPr marL="0" lvl="1" defTabSz="400050">
              <a:spcBef>
                <a:spcPct val="0"/>
              </a:spcBef>
              <a:spcAft>
                <a:spcPts val="200"/>
              </a:spcAft>
            </a:pPr>
            <a:r>
              <a:rPr lang="lv-LV" sz="1600" b="1" kern="1200">
                <a:solidFill>
                  <a:srgbClr val="A8192D"/>
                </a:solidFill>
              </a:rPr>
              <a:t>(Černobiļas avārija)</a:t>
            </a:r>
          </a:p>
          <a:p>
            <a:pPr marL="0" lvl="1" defTabSz="400050">
              <a:spcBef>
                <a:spcPct val="0"/>
              </a:spcBef>
              <a:spcAft>
                <a:spcPts val="200"/>
              </a:spcAft>
            </a:pPr>
            <a:r>
              <a:rPr lang="en-GB" sz="1400" kern="1200" err="1"/>
              <a:t>Pārveide</a:t>
            </a:r>
            <a:r>
              <a:rPr lang="en-GB" sz="1400" kern="1200"/>
              <a:t> par </a:t>
            </a:r>
            <a:r>
              <a:rPr lang="en-GB" sz="1400" kern="1200" err="1"/>
              <a:t>civilo</a:t>
            </a:r>
            <a:r>
              <a:rPr lang="en-GB" sz="1400" kern="1200"/>
              <a:t> </a:t>
            </a:r>
            <a:r>
              <a:rPr lang="en-GB" sz="1400" kern="1200" err="1"/>
              <a:t>aizsardzību</a:t>
            </a:r>
            <a:r>
              <a:rPr lang="en-GB" sz="1400" kern="1200"/>
              <a:t>, </a:t>
            </a:r>
            <a:r>
              <a:rPr lang="en-GB" sz="1400" kern="1200" err="1"/>
              <a:t>uzdodot</a:t>
            </a:r>
            <a:r>
              <a:rPr lang="en-GB" sz="1400" kern="1200"/>
              <a:t> </a:t>
            </a:r>
            <a:r>
              <a:rPr lang="en-GB" sz="1400" kern="1200" err="1"/>
              <a:t>aizsargāt</a:t>
            </a:r>
            <a:r>
              <a:rPr lang="en-GB" sz="1400" kern="1200"/>
              <a:t> </a:t>
            </a:r>
            <a:r>
              <a:rPr lang="en-GB" sz="1400" kern="1200" err="1"/>
              <a:t>iedzīvotājus</a:t>
            </a:r>
            <a:r>
              <a:rPr lang="en-GB" sz="1400" kern="1200"/>
              <a:t> un </a:t>
            </a:r>
            <a:r>
              <a:rPr lang="en-GB" sz="1400" kern="1200" err="1"/>
              <a:t>tautsaimniecību</a:t>
            </a:r>
            <a:r>
              <a:rPr lang="en-GB" sz="1400" kern="1200"/>
              <a:t> kara </a:t>
            </a:r>
            <a:r>
              <a:rPr lang="en-GB" sz="1400" kern="1200" err="1"/>
              <a:t>apstākļos</a:t>
            </a:r>
            <a:r>
              <a:rPr lang="en-GB" sz="1400" kern="1200"/>
              <a:t> un </a:t>
            </a:r>
            <a:r>
              <a:rPr lang="en-GB" sz="1400" kern="1200" err="1"/>
              <a:t>miera</a:t>
            </a:r>
            <a:r>
              <a:rPr lang="en-GB" sz="1400" kern="1200"/>
              <a:t> </a:t>
            </a:r>
            <a:r>
              <a:rPr lang="en-GB" sz="1400" kern="1200" err="1"/>
              <a:t>laikā</a:t>
            </a:r>
            <a:r>
              <a:rPr lang="en-GB" sz="1400" kern="1200"/>
              <a:t> </a:t>
            </a:r>
            <a:r>
              <a:rPr lang="en-GB" sz="1400" kern="1200" err="1"/>
              <a:t>katastrofu</a:t>
            </a:r>
            <a:r>
              <a:rPr lang="en-GB" sz="1400" kern="1200"/>
              <a:t> </a:t>
            </a:r>
            <a:r>
              <a:rPr lang="en-GB" sz="1400" kern="1200" err="1"/>
              <a:t>gadījumā</a:t>
            </a:r>
            <a:endParaRPr lang="en-GB" sz="1400" kern="1200"/>
          </a:p>
        </p:txBody>
      </p:sp>
      <p:cxnSp>
        <p:nvCxnSpPr>
          <p:cNvPr id="41" name="Straight Connector 40">
            <a:extLst>
              <a:ext uri="{FF2B5EF4-FFF2-40B4-BE49-F238E27FC236}">
                <a16:creationId xmlns:a16="http://schemas.microsoft.com/office/drawing/2014/main" id="{F15D265A-155E-367C-3C76-96C5106ECFC3}"/>
              </a:ext>
            </a:extLst>
          </p:cNvPr>
          <p:cNvCxnSpPr>
            <a:cxnSpLocks/>
          </p:cNvCxnSpPr>
          <p:nvPr/>
        </p:nvCxnSpPr>
        <p:spPr>
          <a:xfrm flipV="1">
            <a:off x="7508478" y="4138613"/>
            <a:ext cx="1588" cy="2071688"/>
          </a:xfrm>
          <a:prstGeom prst="line">
            <a:avLst/>
          </a:prstGeom>
          <a:ln w="3175"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42" name="Rectangle 41">
            <a:extLst>
              <a:ext uri="{FF2B5EF4-FFF2-40B4-BE49-F238E27FC236}">
                <a16:creationId xmlns:a16="http://schemas.microsoft.com/office/drawing/2014/main" id="{AFE00ECB-E2C9-0167-72AC-4D664DE28C74}"/>
              </a:ext>
            </a:extLst>
          </p:cNvPr>
          <p:cNvSpPr>
            <a:spLocks noChangeArrowheads="1"/>
          </p:cNvSpPr>
          <p:nvPr/>
        </p:nvSpPr>
        <p:spPr bwMode="auto">
          <a:xfrm>
            <a:off x="7507814" y="4479429"/>
            <a:ext cx="4478008" cy="1692771"/>
          </a:xfrm>
          <a:prstGeom prst="rect">
            <a:avLst/>
          </a:prstGeom>
          <a:noFill/>
          <a:ln w="9525">
            <a:noFill/>
            <a:miter lim="800000"/>
            <a:headEnd/>
            <a:tailEnd/>
          </a:ln>
        </p:spPr>
        <p:txBody>
          <a:bodyPr vert="horz" wrap="square" lIns="72000" tIns="0" rIns="72000" bIns="0" numCol="1" anchor="t"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l" defTabSz="400050" rtl="0">
              <a:spcBef>
                <a:spcPts val="200"/>
              </a:spcBef>
              <a:spcAft>
                <a:spcPts val="200"/>
              </a:spcAft>
            </a:pPr>
            <a:r>
              <a:rPr lang="en-GB" sz="1600" b="1" kern="1200">
                <a:solidFill>
                  <a:srgbClr val="A8192D"/>
                </a:solidFill>
              </a:rPr>
              <a:t>1991, 1992</a:t>
            </a:r>
          </a:p>
          <a:p>
            <a:pPr marL="172800" lvl="1" indent="-172800" algn="l" defTabSz="400050" rtl="0">
              <a:spcBef>
                <a:spcPts val="200"/>
              </a:spcBef>
              <a:spcAft>
                <a:spcPts val="200"/>
              </a:spcAft>
              <a:buFont typeface="Arial" panose="020B0604020202020204" pitchFamily="34" charset="0"/>
              <a:buChar char="•"/>
            </a:pPr>
            <a:r>
              <a:rPr lang="en-GB" sz="1400" kern="1200" err="1"/>
              <a:t>Latvijas</a:t>
            </a:r>
            <a:r>
              <a:rPr lang="en-GB" sz="1400" kern="1200"/>
              <a:t> </a:t>
            </a:r>
            <a:r>
              <a:rPr lang="en-GB" sz="1400" kern="1200" err="1"/>
              <a:t>Republika</a:t>
            </a:r>
            <a:r>
              <a:rPr lang="en-GB" sz="1400" kern="1200"/>
              <a:t> </a:t>
            </a:r>
            <a:r>
              <a:rPr lang="en-GB" sz="1400" kern="1200" err="1"/>
              <a:t>ratificē</a:t>
            </a:r>
            <a:r>
              <a:rPr lang="en-GB" sz="1400" kern="1200"/>
              <a:t> </a:t>
            </a:r>
            <a:r>
              <a:rPr lang="en-GB" sz="1400" kern="1200" err="1"/>
              <a:t>Ženēvas</a:t>
            </a:r>
            <a:r>
              <a:rPr lang="en-GB" sz="1400" kern="1200"/>
              <a:t> </a:t>
            </a:r>
            <a:r>
              <a:rPr lang="en-GB" sz="1400" kern="1200" err="1"/>
              <a:t>konvenciju</a:t>
            </a:r>
            <a:endParaRPr lang="en-GB" sz="1400" kern="1200"/>
          </a:p>
          <a:p>
            <a:pPr marL="172800" lvl="1" indent="-172800" algn="l" defTabSz="400050" rtl="0">
              <a:spcBef>
                <a:spcPts val="200"/>
              </a:spcBef>
              <a:spcAft>
                <a:spcPts val="200"/>
              </a:spcAft>
              <a:buFont typeface="Arial" panose="020B0604020202020204" pitchFamily="34" charset="0"/>
              <a:buChar char="•"/>
            </a:pPr>
            <a:r>
              <a:rPr lang="lv-LV" sz="1400">
                <a:solidFill>
                  <a:srgbClr val="000000"/>
                </a:solidFill>
                <a:cs typeface="Arial"/>
              </a:rPr>
              <a:t>U</a:t>
            </a:r>
            <a:r>
              <a:rPr lang="lv-LV" sz="1400" kern="1200">
                <a:solidFill>
                  <a:srgbClr val="000000"/>
                </a:solidFill>
                <a:cs typeface="Arial"/>
              </a:rPr>
              <a:t>zsākta civilās aizsardzības sistēmas reorganizācija, uz Latvijas Republikas Civilās aizsardzības štāba bāzes izveidots Civilās aizsardzības operatīvais centrs</a:t>
            </a:r>
            <a:endParaRPr lang="en-GB" sz="1400" kern="1200"/>
          </a:p>
          <a:p>
            <a:pPr marL="172800" lvl="1" indent="-172800" algn="l" defTabSz="400050" rtl="0">
              <a:spcBef>
                <a:spcPts val="200"/>
              </a:spcBef>
              <a:spcAft>
                <a:spcPts val="200"/>
              </a:spcAft>
              <a:buFont typeface="Arial" panose="020B0604020202020204" pitchFamily="34" charset="0"/>
              <a:buChar char="•"/>
            </a:pPr>
            <a:r>
              <a:rPr lang="lv-LV" sz="1400">
                <a:solidFill>
                  <a:srgbClr val="000000"/>
                </a:solidFill>
                <a:cs typeface="Arial"/>
              </a:rPr>
              <a:t>L</a:t>
            </a:r>
            <a:r>
              <a:rPr lang="lv-LV" sz="1400" kern="1200">
                <a:solidFill>
                  <a:srgbClr val="000000"/>
                </a:solidFill>
                <a:cs typeface="Arial"/>
              </a:rPr>
              <a:t>ikums „Par Latvijas Republikas civilo aizsardzību”</a:t>
            </a:r>
            <a:endParaRPr lang="lv-LV" sz="1400" kern="1200">
              <a:cs typeface="Arial"/>
            </a:endParaRPr>
          </a:p>
        </p:txBody>
      </p:sp>
      <p:sp>
        <p:nvSpPr>
          <p:cNvPr id="8" name="Oval 7">
            <a:extLst>
              <a:ext uri="{FF2B5EF4-FFF2-40B4-BE49-F238E27FC236}">
                <a16:creationId xmlns:a16="http://schemas.microsoft.com/office/drawing/2014/main" id="{7214AC11-DD88-11D0-C2F9-2825B1D11CD8}"/>
              </a:ext>
            </a:extLst>
          </p:cNvPr>
          <p:cNvSpPr/>
          <p:nvPr/>
        </p:nvSpPr>
        <p:spPr bwMode="ltGray">
          <a:xfrm rot="10800000" flipV="1">
            <a:off x="175111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9" name="Oval 8">
            <a:extLst>
              <a:ext uri="{FF2B5EF4-FFF2-40B4-BE49-F238E27FC236}">
                <a16:creationId xmlns:a16="http://schemas.microsoft.com/office/drawing/2014/main" id="{401779D6-5045-702D-968B-E480492B8A7D}"/>
              </a:ext>
            </a:extLst>
          </p:cNvPr>
          <p:cNvSpPr/>
          <p:nvPr/>
        </p:nvSpPr>
        <p:spPr bwMode="ltGray">
          <a:xfrm rot="10800000" flipV="1">
            <a:off x="3164391"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0" name="Oval 9">
            <a:extLst>
              <a:ext uri="{FF2B5EF4-FFF2-40B4-BE49-F238E27FC236}">
                <a16:creationId xmlns:a16="http://schemas.microsoft.com/office/drawing/2014/main" id="{B1AB749B-881B-0E8A-5368-6580311E3314}"/>
              </a:ext>
            </a:extLst>
          </p:cNvPr>
          <p:cNvSpPr/>
          <p:nvPr/>
        </p:nvSpPr>
        <p:spPr bwMode="ltGray">
          <a:xfrm rot="10800000" flipV="1">
            <a:off x="4577663"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1" name="Oval 10">
            <a:extLst>
              <a:ext uri="{FF2B5EF4-FFF2-40B4-BE49-F238E27FC236}">
                <a16:creationId xmlns:a16="http://schemas.microsoft.com/office/drawing/2014/main" id="{ED9FA0D6-E0DD-DA11-5468-CA6FDA745C5C}"/>
              </a:ext>
            </a:extLst>
          </p:cNvPr>
          <p:cNvSpPr/>
          <p:nvPr/>
        </p:nvSpPr>
        <p:spPr bwMode="ltGray">
          <a:xfrm rot="10800000" flipV="1">
            <a:off x="5990935"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12" name="Oval 11">
            <a:extLst>
              <a:ext uri="{FF2B5EF4-FFF2-40B4-BE49-F238E27FC236}">
                <a16:creationId xmlns:a16="http://schemas.microsoft.com/office/drawing/2014/main" id="{64941C8B-750A-2B31-A9EE-BE3C7C48B9F0}"/>
              </a:ext>
            </a:extLst>
          </p:cNvPr>
          <p:cNvSpPr/>
          <p:nvPr/>
        </p:nvSpPr>
        <p:spPr bwMode="ltGray">
          <a:xfrm rot="10800000" flipV="1">
            <a:off x="8817479"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7" name="Oval 6">
            <a:extLst>
              <a:ext uri="{FF2B5EF4-FFF2-40B4-BE49-F238E27FC236}">
                <a16:creationId xmlns:a16="http://schemas.microsoft.com/office/drawing/2014/main" id="{485433F1-7DAA-788C-CE0C-20FD42CF1300}"/>
              </a:ext>
            </a:extLst>
          </p:cNvPr>
          <p:cNvSpPr/>
          <p:nvPr/>
        </p:nvSpPr>
        <p:spPr bwMode="ltGray">
          <a:xfrm rot="10800000" flipV="1">
            <a:off x="33784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sp>
        <p:nvSpPr>
          <p:cNvPr id="30" name="Oval 29">
            <a:extLst>
              <a:ext uri="{FF2B5EF4-FFF2-40B4-BE49-F238E27FC236}">
                <a16:creationId xmlns:a16="http://schemas.microsoft.com/office/drawing/2014/main" id="{4B37B381-7997-9DC7-C4FC-B6F4C6B298B0}"/>
              </a:ext>
            </a:extLst>
          </p:cNvPr>
          <p:cNvSpPr/>
          <p:nvPr/>
        </p:nvSpPr>
        <p:spPr bwMode="ltGray">
          <a:xfrm rot="10800000" flipV="1">
            <a:off x="7404207" y="3890670"/>
            <a:ext cx="210132" cy="210134"/>
          </a:xfrm>
          <a:prstGeom prst="ellipse">
            <a:avLst/>
          </a:prstGeom>
          <a:solidFill>
            <a:schemeClr val="bg1"/>
          </a:solidFill>
          <a:ln w="85725">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200" b="1">
              <a:solidFill>
                <a:schemeClr val="accent1"/>
              </a:solidFill>
            </a:endParaRPr>
          </a:p>
        </p:txBody>
      </p:sp>
      <p:grpSp>
        <p:nvGrpSpPr>
          <p:cNvPr id="22" name="Group 21">
            <a:extLst>
              <a:ext uri="{FF2B5EF4-FFF2-40B4-BE49-F238E27FC236}">
                <a16:creationId xmlns:a16="http://schemas.microsoft.com/office/drawing/2014/main" id="{97CA768D-18B9-1FA3-2A67-59344018CBCF}"/>
              </a:ext>
            </a:extLst>
          </p:cNvPr>
          <p:cNvGrpSpPr/>
          <p:nvPr/>
        </p:nvGrpSpPr>
        <p:grpSpPr>
          <a:xfrm>
            <a:off x="8777593" y="126781"/>
            <a:ext cx="2971495" cy="217488"/>
            <a:chOff x="8296821" y="126781"/>
            <a:chExt cx="2971495" cy="217488"/>
          </a:xfrm>
        </p:grpSpPr>
        <p:sp>
          <p:nvSpPr>
            <p:cNvPr id="24" name="Rectangle 23">
              <a:extLst>
                <a:ext uri="{FF2B5EF4-FFF2-40B4-BE49-F238E27FC236}">
                  <a16:creationId xmlns:a16="http://schemas.microsoft.com/office/drawing/2014/main" id="{268DC07D-EE9D-AEBD-67B3-CD314DF38FD5}"/>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6" name="Rectangle 25">
              <a:extLst>
                <a:ext uri="{FF2B5EF4-FFF2-40B4-BE49-F238E27FC236}">
                  <a16:creationId xmlns:a16="http://schemas.microsoft.com/office/drawing/2014/main" id="{8B04FDCB-5901-2195-D2B3-CFB4309A5D4E}"/>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7" name="Rectangle 26">
              <a:extLst>
                <a:ext uri="{FF2B5EF4-FFF2-40B4-BE49-F238E27FC236}">
                  <a16:creationId xmlns:a16="http://schemas.microsoft.com/office/drawing/2014/main" id="{6F1E0AD0-8CA6-4B26-37DD-4B94603D3C5A}"/>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8" name="Rectangle 27">
              <a:extLst>
                <a:ext uri="{FF2B5EF4-FFF2-40B4-BE49-F238E27FC236}">
                  <a16:creationId xmlns:a16="http://schemas.microsoft.com/office/drawing/2014/main" id="{106C7109-08DB-7808-D917-03E1AA7FF9EF}"/>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3" name="Rectangle 2">
            <a:extLst>
              <a:ext uri="{FF2B5EF4-FFF2-40B4-BE49-F238E27FC236}">
                <a16:creationId xmlns:a16="http://schemas.microsoft.com/office/drawing/2014/main" id="{FFBDC083-509D-B163-40DF-961380F4548A}"/>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990025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a:lstStyle/>
          <a:p>
            <a:r>
              <a:rPr lang="lv-LV"/>
              <a:t>Kopsavilkums</a:t>
            </a:r>
            <a:endParaRPr lang="en-US"/>
          </a:p>
        </p:txBody>
      </p:sp>
      <p:sp>
        <p:nvSpPr>
          <p:cNvPr id="8" name="Content Placeholder 2">
            <a:extLst>
              <a:ext uri="{FF2B5EF4-FFF2-40B4-BE49-F238E27FC236}">
                <a16:creationId xmlns:a16="http://schemas.microsoft.com/office/drawing/2014/main" id="{581D47E2-5CD0-E9BA-44E7-363FD617FB4E}"/>
              </a:ext>
            </a:extLst>
          </p:cNvPr>
          <p:cNvSpPr txBox="1">
            <a:spLocks/>
          </p:cNvSpPr>
          <p:nvPr/>
        </p:nvSpPr>
        <p:spPr>
          <a:xfrm>
            <a:off x="442912" y="2504344"/>
            <a:ext cx="5473701" cy="3667855"/>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lv-LV" sz="1600" b="0">
                <a:solidFill>
                  <a:srgbClr val="000000"/>
                </a:solidFill>
                <a:ea typeface="Open Sans"/>
                <a:cs typeface="Open Sans"/>
              </a:rPr>
              <a:t>Civilās aizsardzības sistēmai </a:t>
            </a:r>
            <a:r>
              <a:rPr lang="lv-LV" sz="1600">
                <a:solidFill>
                  <a:srgbClr val="000000"/>
                </a:solidFill>
                <a:ea typeface="Open Sans"/>
                <a:cs typeface="Open Sans"/>
              </a:rPr>
              <a:t>ir jāsniedz palīdzība iedzīvotājiem katastrofu</a:t>
            </a:r>
            <a:r>
              <a:rPr lang="lv-LV" sz="1600" b="0">
                <a:solidFill>
                  <a:srgbClr val="000000"/>
                </a:solidFill>
                <a:ea typeface="Open Sans"/>
                <a:cs typeface="Open Sans"/>
              </a:rPr>
              <a:t> laikā un jāpaaugstina viņu pašu noturība un rīcībspēja.</a:t>
            </a:r>
          </a:p>
          <a:p>
            <a:pPr marL="285750" indent="-285750">
              <a:spcAft>
                <a:spcPts val="600"/>
              </a:spcAft>
              <a:buFont typeface="Arial" panose="020B0604020202020204" pitchFamily="34" charset="0"/>
              <a:buChar char="•"/>
            </a:pPr>
            <a:r>
              <a:rPr lang="lv-LV" sz="1600" b="0">
                <a:solidFill>
                  <a:srgbClr val="000000"/>
                </a:solidFill>
                <a:ea typeface="Open Sans"/>
                <a:cs typeface="Open Sans"/>
              </a:rPr>
              <a:t>Civilā aizsardzība nozīmē, ka valsts </a:t>
            </a:r>
            <a:r>
              <a:rPr lang="lv-LV" sz="1600">
                <a:solidFill>
                  <a:srgbClr val="000000"/>
                </a:solidFill>
                <a:ea typeface="Open Sans"/>
                <a:cs typeface="Open Sans"/>
              </a:rPr>
              <a:t>un sabiedrība ir gatavi savlaicīgiem brīdinājumiem</a:t>
            </a:r>
            <a:r>
              <a:rPr lang="lv-LV" sz="1600" b="0">
                <a:solidFill>
                  <a:srgbClr val="000000"/>
                </a:solidFill>
                <a:ea typeface="Open Sans"/>
                <a:cs typeface="Open Sans"/>
              </a:rPr>
              <a:t>, glābšanas operācijām, evakuācijai, patvertnēm, pirmajai palīdzībai un katastrofu medicīnai, neatliekamajai sociālajai, psiholoģiskajai u.c. palīdzībai.</a:t>
            </a:r>
            <a:endParaRPr lang="lv-LV" sz="1600" b="0">
              <a:solidFill>
                <a:srgbClr val="000000"/>
              </a:solidFill>
              <a:ea typeface="Open Sans" panose="020B0606030504020204" pitchFamily="34" charset="0"/>
              <a:cs typeface="Open Sans" panose="020B0606030504020204" pitchFamily="34" charset="0"/>
            </a:endParaRPr>
          </a:p>
          <a:p>
            <a:pPr marL="285750" indent="-285750">
              <a:spcAft>
                <a:spcPts val="600"/>
              </a:spcAft>
              <a:buFont typeface="Arial" panose="020B0604020202020204" pitchFamily="34" charset="0"/>
              <a:buChar char="•"/>
            </a:pPr>
            <a:r>
              <a:rPr lang="lv-LV" sz="1600" b="0">
                <a:solidFill>
                  <a:srgbClr val="000000"/>
                </a:solidFill>
                <a:ea typeface="Open Sans"/>
                <a:cs typeface="Open Sans"/>
              </a:rPr>
              <a:t>Pamats civilai aizsardzībai ir </a:t>
            </a:r>
            <a:r>
              <a:rPr lang="lv-LV" sz="1600">
                <a:solidFill>
                  <a:srgbClr val="000000"/>
                </a:solidFill>
                <a:ea typeface="Open Sans"/>
                <a:cs typeface="Open Sans"/>
              </a:rPr>
              <a:t>cilvēku spēja pasargāt sevi </a:t>
            </a:r>
            <a:r>
              <a:rPr lang="lv-LV" sz="1600" b="0">
                <a:solidFill>
                  <a:srgbClr val="000000"/>
                </a:solidFill>
                <a:ea typeface="Open Sans"/>
                <a:cs typeface="Open Sans"/>
              </a:rPr>
              <a:t>un citam citu krīzes situācijās, kamēr ierodas palīdzība.</a:t>
            </a:r>
          </a:p>
        </p:txBody>
      </p:sp>
      <p:sp>
        <p:nvSpPr>
          <p:cNvPr id="9" name="Rectangle 8">
            <a:extLst>
              <a:ext uri="{FF2B5EF4-FFF2-40B4-BE49-F238E27FC236}">
                <a16:creationId xmlns:a16="http://schemas.microsoft.com/office/drawing/2014/main" id="{EACF064E-C498-0949-616D-C799182AEEE7}"/>
              </a:ext>
            </a:extLst>
          </p:cNvPr>
          <p:cNvSpPr/>
          <p:nvPr/>
        </p:nvSpPr>
        <p:spPr>
          <a:xfrm>
            <a:off x="442913" y="1819275"/>
            <a:ext cx="5473701"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lv-LV" sz="1600" b="1">
                <a:solidFill>
                  <a:schemeClr val="bg1"/>
                </a:solidFill>
                <a:ea typeface="Open Sans"/>
                <a:cs typeface="Open Sans"/>
              </a:rPr>
              <a:t>Būtiskākie civilās aizsardzības sistēmas mērķi:</a:t>
            </a:r>
            <a:endParaRPr lang="lv-LV" sz="1600" b="1">
              <a:solidFill>
                <a:schemeClr val="bg1"/>
              </a:solidFill>
              <a:cs typeface="Arial"/>
            </a:endParaRPr>
          </a:p>
        </p:txBody>
      </p:sp>
      <p:pic>
        <p:nvPicPr>
          <p:cNvPr id="17410" name="Picture 2" descr="men in black and brown camouflage uniform standing on brown floor">
            <a:extLst>
              <a:ext uri="{FF2B5EF4-FFF2-40B4-BE49-F238E27FC236}">
                <a16:creationId xmlns:a16="http://schemas.microsoft.com/office/drawing/2014/main" id="{7C251E04-B4A8-DD9D-6BC1-054AF116B4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6275389" y="1820070"/>
            <a:ext cx="5473702" cy="435292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7E551E5-C2D6-5CAE-5DCE-FF9336891076}"/>
              </a:ext>
            </a:extLst>
          </p:cNvPr>
          <p:cNvSpPr/>
          <p:nvPr/>
        </p:nvSpPr>
        <p:spPr>
          <a:xfrm rot="16200000">
            <a:off x="8976520" y="3400425"/>
            <a:ext cx="71438" cy="54737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4" name="Freeform 85">
            <a:extLst>
              <a:ext uri="{FF2B5EF4-FFF2-40B4-BE49-F238E27FC236}">
                <a16:creationId xmlns:a16="http://schemas.microsoft.com/office/drawing/2014/main" id="{F4B34ACD-2BEF-AB41-80A8-244233F6E0F2}"/>
              </a:ext>
            </a:extLst>
          </p:cNvPr>
          <p:cNvSpPr>
            <a:spLocks noChangeAspect="1" noEditPoints="1"/>
          </p:cNvSpPr>
          <p:nvPr/>
        </p:nvSpPr>
        <p:spPr bwMode="auto">
          <a:xfrm>
            <a:off x="5316567" y="5578978"/>
            <a:ext cx="455905" cy="457200"/>
          </a:xfrm>
          <a:custGeom>
            <a:avLst/>
            <a:gdLst>
              <a:gd name="T0" fmla="*/ 352 w 704"/>
              <a:gd name="T1" fmla="*/ 595 h 706"/>
              <a:gd name="T2" fmla="*/ 144 w 704"/>
              <a:gd name="T3" fmla="*/ 464 h 706"/>
              <a:gd name="T4" fmla="*/ 160 w 704"/>
              <a:gd name="T5" fmla="*/ 438 h 706"/>
              <a:gd name="T6" fmla="*/ 352 w 704"/>
              <a:gd name="T7" fmla="*/ 559 h 706"/>
              <a:gd name="T8" fmla="*/ 544 w 704"/>
              <a:gd name="T9" fmla="*/ 438 h 706"/>
              <a:gd name="T10" fmla="*/ 560 w 704"/>
              <a:gd name="T11" fmla="*/ 464 h 706"/>
              <a:gd name="T12" fmla="*/ 352 w 704"/>
              <a:gd name="T13" fmla="*/ 595 h 706"/>
              <a:gd name="T14" fmla="*/ 560 w 704"/>
              <a:gd name="T15" fmla="*/ 357 h 706"/>
              <a:gd name="T16" fmla="*/ 544 w 704"/>
              <a:gd name="T17" fmla="*/ 331 h 706"/>
              <a:gd name="T18" fmla="*/ 352 w 704"/>
              <a:gd name="T19" fmla="*/ 453 h 706"/>
              <a:gd name="T20" fmla="*/ 160 w 704"/>
              <a:gd name="T21" fmla="*/ 331 h 706"/>
              <a:gd name="T22" fmla="*/ 144 w 704"/>
              <a:gd name="T23" fmla="*/ 357 h 706"/>
              <a:gd name="T24" fmla="*/ 352 w 704"/>
              <a:gd name="T25" fmla="*/ 488 h 706"/>
              <a:gd name="T26" fmla="*/ 560 w 704"/>
              <a:gd name="T27" fmla="*/ 357 h 706"/>
              <a:gd name="T28" fmla="*/ 406 w 704"/>
              <a:gd name="T29" fmla="*/ 234 h 706"/>
              <a:gd name="T30" fmla="*/ 482 w 704"/>
              <a:gd name="T31" fmla="*/ 173 h 706"/>
              <a:gd name="T32" fmla="*/ 385 w 704"/>
              <a:gd name="T33" fmla="*/ 171 h 706"/>
              <a:gd name="T34" fmla="*/ 352 w 704"/>
              <a:gd name="T35" fmla="*/ 77 h 706"/>
              <a:gd name="T36" fmla="*/ 319 w 704"/>
              <a:gd name="T37" fmla="*/ 171 h 706"/>
              <a:gd name="T38" fmla="*/ 223 w 704"/>
              <a:gd name="T39" fmla="*/ 173 h 706"/>
              <a:gd name="T40" fmla="*/ 298 w 704"/>
              <a:gd name="T41" fmla="*/ 234 h 706"/>
              <a:gd name="T42" fmla="*/ 272 w 704"/>
              <a:gd name="T43" fmla="*/ 326 h 706"/>
              <a:gd name="T44" fmla="*/ 352 w 704"/>
              <a:gd name="T45" fmla="*/ 272 h 706"/>
              <a:gd name="T46" fmla="*/ 433 w 704"/>
              <a:gd name="T47" fmla="*/ 326 h 706"/>
              <a:gd name="T48" fmla="*/ 406 w 704"/>
              <a:gd name="T49" fmla="*/ 234 h 706"/>
              <a:gd name="T50" fmla="*/ 323 w 704"/>
              <a:gd name="T51" fmla="*/ 256 h 706"/>
              <a:gd name="T52" fmla="*/ 333 w 704"/>
              <a:gd name="T53" fmla="*/ 223 h 706"/>
              <a:gd name="T54" fmla="*/ 306 w 704"/>
              <a:gd name="T55" fmla="*/ 201 h 706"/>
              <a:gd name="T56" fmla="*/ 340 w 704"/>
              <a:gd name="T57" fmla="*/ 200 h 706"/>
              <a:gd name="T58" fmla="*/ 352 w 704"/>
              <a:gd name="T59" fmla="*/ 167 h 706"/>
              <a:gd name="T60" fmla="*/ 364 w 704"/>
              <a:gd name="T61" fmla="*/ 200 h 706"/>
              <a:gd name="T62" fmla="*/ 399 w 704"/>
              <a:gd name="T63" fmla="*/ 201 h 706"/>
              <a:gd name="T64" fmla="*/ 372 w 704"/>
              <a:gd name="T65" fmla="*/ 223 h 706"/>
              <a:gd name="T66" fmla="*/ 382 w 704"/>
              <a:gd name="T67" fmla="*/ 256 h 706"/>
              <a:gd name="T68" fmla="*/ 352 w 704"/>
              <a:gd name="T69" fmla="*/ 237 h 706"/>
              <a:gd name="T70" fmla="*/ 323 w 704"/>
              <a:gd name="T71" fmla="*/ 256 h 706"/>
              <a:gd name="T72" fmla="*/ 704 w 704"/>
              <a:gd name="T73" fmla="*/ 0 h 706"/>
              <a:gd name="T74" fmla="*/ 704 w 704"/>
              <a:gd name="T75" fmla="*/ 484 h 706"/>
              <a:gd name="T76" fmla="*/ 352 w 704"/>
              <a:gd name="T77" fmla="*/ 706 h 706"/>
              <a:gd name="T78" fmla="*/ 0 w 704"/>
              <a:gd name="T79" fmla="*/ 484 h 706"/>
              <a:gd name="T80" fmla="*/ 0 w 704"/>
              <a:gd name="T81" fmla="*/ 0 h 706"/>
              <a:gd name="T82" fmla="*/ 704 w 704"/>
              <a:gd name="T83" fmla="*/ 0 h 706"/>
              <a:gd name="T84" fmla="*/ 674 w 704"/>
              <a:gd name="T85" fmla="*/ 30 h 706"/>
              <a:gd name="T86" fmla="*/ 31 w 704"/>
              <a:gd name="T87" fmla="*/ 30 h 706"/>
              <a:gd name="T88" fmla="*/ 31 w 704"/>
              <a:gd name="T89" fmla="*/ 468 h 706"/>
              <a:gd name="T90" fmla="*/ 352 w 704"/>
              <a:gd name="T91" fmla="*/ 671 h 706"/>
              <a:gd name="T92" fmla="*/ 674 w 704"/>
              <a:gd name="T93" fmla="*/ 468 h 706"/>
              <a:gd name="T94" fmla="*/ 674 w 704"/>
              <a:gd name="T95" fmla="*/ 30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4" h="706">
                <a:moveTo>
                  <a:pt x="352" y="595"/>
                </a:moveTo>
                <a:lnTo>
                  <a:pt x="144" y="464"/>
                </a:lnTo>
                <a:lnTo>
                  <a:pt x="160" y="438"/>
                </a:lnTo>
                <a:lnTo>
                  <a:pt x="352" y="559"/>
                </a:lnTo>
                <a:lnTo>
                  <a:pt x="544" y="438"/>
                </a:lnTo>
                <a:lnTo>
                  <a:pt x="560" y="464"/>
                </a:lnTo>
                <a:lnTo>
                  <a:pt x="352" y="595"/>
                </a:lnTo>
                <a:close/>
                <a:moveTo>
                  <a:pt x="560" y="357"/>
                </a:moveTo>
                <a:lnTo>
                  <a:pt x="544" y="331"/>
                </a:lnTo>
                <a:lnTo>
                  <a:pt x="352" y="453"/>
                </a:lnTo>
                <a:lnTo>
                  <a:pt x="160" y="331"/>
                </a:lnTo>
                <a:lnTo>
                  <a:pt x="144" y="357"/>
                </a:lnTo>
                <a:lnTo>
                  <a:pt x="352" y="488"/>
                </a:lnTo>
                <a:lnTo>
                  <a:pt x="560" y="357"/>
                </a:lnTo>
                <a:close/>
                <a:moveTo>
                  <a:pt x="406" y="234"/>
                </a:moveTo>
                <a:lnTo>
                  <a:pt x="482" y="173"/>
                </a:lnTo>
                <a:lnTo>
                  <a:pt x="385" y="171"/>
                </a:lnTo>
                <a:lnTo>
                  <a:pt x="352" y="77"/>
                </a:lnTo>
                <a:lnTo>
                  <a:pt x="319" y="171"/>
                </a:lnTo>
                <a:lnTo>
                  <a:pt x="223" y="173"/>
                </a:lnTo>
                <a:lnTo>
                  <a:pt x="298" y="234"/>
                </a:lnTo>
                <a:lnTo>
                  <a:pt x="272" y="326"/>
                </a:lnTo>
                <a:lnTo>
                  <a:pt x="352" y="272"/>
                </a:lnTo>
                <a:lnTo>
                  <a:pt x="433" y="326"/>
                </a:lnTo>
                <a:lnTo>
                  <a:pt x="406" y="234"/>
                </a:lnTo>
                <a:close/>
                <a:moveTo>
                  <a:pt x="323" y="256"/>
                </a:moveTo>
                <a:lnTo>
                  <a:pt x="333" y="223"/>
                </a:lnTo>
                <a:lnTo>
                  <a:pt x="306" y="201"/>
                </a:lnTo>
                <a:lnTo>
                  <a:pt x="340" y="200"/>
                </a:lnTo>
                <a:lnTo>
                  <a:pt x="352" y="167"/>
                </a:lnTo>
                <a:lnTo>
                  <a:pt x="364" y="200"/>
                </a:lnTo>
                <a:lnTo>
                  <a:pt x="399" y="201"/>
                </a:lnTo>
                <a:lnTo>
                  <a:pt x="372" y="223"/>
                </a:lnTo>
                <a:lnTo>
                  <a:pt x="382" y="256"/>
                </a:lnTo>
                <a:lnTo>
                  <a:pt x="352" y="237"/>
                </a:lnTo>
                <a:lnTo>
                  <a:pt x="323" y="256"/>
                </a:lnTo>
                <a:close/>
                <a:moveTo>
                  <a:pt x="704" y="0"/>
                </a:moveTo>
                <a:lnTo>
                  <a:pt x="704" y="484"/>
                </a:lnTo>
                <a:lnTo>
                  <a:pt x="352" y="706"/>
                </a:lnTo>
                <a:lnTo>
                  <a:pt x="0" y="484"/>
                </a:lnTo>
                <a:lnTo>
                  <a:pt x="0" y="0"/>
                </a:lnTo>
                <a:lnTo>
                  <a:pt x="704" y="0"/>
                </a:lnTo>
                <a:close/>
                <a:moveTo>
                  <a:pt x="674" y="30"/>
                </a:moveTo>
                <a:lnTo>
                  <a:pt x="31" y="30"/>
                </a:lnTo>
                <a:lnTo>
                  <a:pt x="31" y="468"/>
                </a:lnTo>
                <a:lnTo>
                  <a:pt x="352" y="671"/>
                </a:lnTo>
                <a:lnTo>
                  <a:pt x="674" y="468"/>
                </a:lnTo>
                <a:lnTo>
                  <a:pt x="674" y="3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lv-LV" altLang="ja-JP"/>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2</a:t>
            </a:fld>
            <a:endParaRPr lang="en-GB"/>
          </a:p>
        </p:txBody>
      </p:sp>
      <p:grpSp>
        <p:nvGrpSpPr>
          <p:cNvPr id="17" name="Group 16">
            <a:extLst>
              <a:ext uri="{FF2B5EF4-FFF2-40B4-BE49-F238E27FC236}">
                <a16:creationId xmlns:a16="http://schemas.microsoft.com/office/drawing/2014/main" id="{6E9D5910-4A67-8C07-5682-47BF47B6DF80}"/>
              </a:ext>
            </a:extLst>
          </p:cNvPr>
          <p:cNvGrpSpPr/>
          <p:nvPr/>
        </p:nvGrpSpPr>
        <p:grpSpPr>
          <a:xfrm>
            <a:off x="8777593" y="126781"/>
            <a:ext cx="2971495" cy="217488"/>
            <a:chOff x="8296821" y="126781"/>
            <a:chExt cx="2971495" cy="217488"/>
          </a:xfrm>
        </p:grpSpPr>
        <p:sp>
          <p:nvSpPr>
            <p:cNvPr id="18" name="Rectangle 17">
              <a:extLst>
                <a:ext uri="{FF2B5EF4-FFF2-40B4-BE49-F238E27FC236}">
                  <a16:creationId xmlns:a16="http://schemas.microsoft.com/office/drawing/2014/main" id="{5D98C347-BE25-B612-34C6-DBB84DD70A0A}"/>
                </a:ext>
              </a:extLst>
            </p:cNvPr>
            <p:cNvSpPr/>
            <p:nvPr/>
          </p:nvSpPr>
          <p:spPr>
            <a:xfrm>
              <a:off x="829682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9" name="Rectangle 18">
              <a:extLst>
                <a:ext uri="{FF2B5EF4-FFF2-40B4-BE49-F238E27FC236}">
                  <a16:creationId xmlns:a16="http://schemas.microsoft.com/office/drawing/2014/main" id="{EC7D8F13-D5BD-B8A5-41A3-31B704339312}"/>
                </a:ext>
              </a:extLst>
            </p:cNvPr>
            <p:cNvSpPr/>
            <p:nvPr/>
          </p:nvSpPr>
          <p:spPr>
            <a:xfrm>
              <a:off x="9020858" y="126781"/>
              <a:ext cx="2247458"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Ieskats civilās aizsardzības attīstības vēsturē</a:t>
              </a:r>
            </a:p>
          </p:txBody>
        </p:sp>
        <p:sp>
          <p:nvSpPr>
            <p:cNvPr id="20" name="Rectangle 19">
              <a:extLst>
                <a:ext uri="{FF2B5EF4-FFF2-40B4-BE49-F238E27FC236}">
                  <a16:creationId xmlns:a16="http://schemas.microsoft.com/office/drawing/2014/main" id="{3650B70E-7531-1A7E-4BB8-935B49033CE9}"/>
                </a:ext>
              </a:extLst>
            </p:cNvPr>
            <p:cNvSpPr/>
            <p:nvPr/>
          </p:nvSpPr>
          <p:spPr>
            <a:xfrm>
              <a:off x="8540088"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1" name="Rectangle 20">
              <a:extLst>
                <a:ext uri="{FF2B5EF4-FFF2-40B4-BE49-F238E27FC236}">
                  <a16:creationId xmlns:a16="http://schemas.microsoft.com/office/drawing/2014/main" id="{8FA2A684-1A60-5003-453C-694240DF97C5}"/>
                </a:ext>
              </a:extLst>
            </p:cNvPr>
            <p:cNvSpPr/>
            <p:nvPr/>
          </p:nvSpPr>
          <p:spPr>
            <a:xfrm>
              <a:off x="8780473"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3</a:t>
              </a:r>
              <a:endParaRPr kumimoji="0" lang="lv-LV" sz="800" b="1" i="0" u="none" strike="noStrike" kern="0" cap="none" spc="0" normalizeH="0" baseline="0" noProof="0">
                <a:ln>
                  <a:noFill/>
                </a:ln>
                <a:effectLst/>
                <a:uLnTx/>
                <a:uFillTx/>
                <a:ea typeface="Georgia"/>
                <a:cs typeface="Georgia"/>
                <a:sym typeface="Georgia"/>
              </a:endParaRPr>
            </a:p>
          </p:txBody>
        </p:sp>
      </p:grpSp>
      <p:sp>
        <p:nvSpPr>
          <p:cNvPr id="2" name="Rectangle 1">
            <a:extLst>
              <a:ext uri="{FF2B5EF4-FFF2-40B4-BE49-F238E27FC236}">
                <a16:creationId xmlns:a16="http://schemas.microsoft.com/office/drawing/2014/main" id="{DCB85708-2801-9212-A2F2-CB1993297C80}"/>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25190500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168F800-7305-A09D-AF78-9EB408346FA0}"/>
              </a:ext>
            </a:extLst>
          </p:cNvPr>
          <p:cNvSpPr>
            <a:spLocks noGrp="1"/>
          </p:cNvSpPr>
          <p:nvPr>
            <p:ph type="title"/>
          </p:nvPr>
        </p:nvSpPr>
        <p:spPr/>
        <p:txBody>
          <a:bodyPr vert="horz"/>
          <a:lstStyle/>
          <a:p>
            <a:r>
              <a:rPr lang="lv-LV" dirty="0"/>
              <a:t>Izmantotie avoti</a:t>
            </a:r>
            <a:endParaRPr lang="en-US" dirty="0"/>
          </a:p>
        </p:txBody>
      </p:sp>
      <p:sp>
        <p:nvSpPr>
          <p:cNvPr id="15" name="Slide Number Placeholder 3">
            <a:extLst>
              <a:ext uri="{FF2B5EF4-FFF2-40B4-BE49-F238E27FC236}">
                <a16:creationId xmlns:a16="http://schemas.microsoft.com/office/drawing/2014/main" id="{382E260A-88F3-9F42-6F07-A1C4779FF6E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sp>
        <p:nvSpPr>
          <p:cNvPr id="24" name="Content Placeholder 2">
            <a:extLst>
              <a:ext uri="{FF2B5EF4-FFF2-40B4-BE49-F238E27FC236}">
                <a16:creationId xmlns:a16="http://schemas.microsoft.com/office/drawing/2014/main" id="{20F6161A-E3E2-A765-A44D-92728895AC83}"/>
              </a:ext>
            </a:extLst>
          </p:cNvPr>
          <p:cNvSpPr txBox="1">
            <a:spLocks/>
          </p:cNvSpPr>
          <p:nvPr/>
        </p:nvSpPr>
        <p:spPr>
          <a:xfrm>
            <a:off x="442913" y="1819276"/>
            <a:ext cx="11306175" cy="4352924"/>
          </a:xfrm>
          <a:prstGeom prst="rect">
            <a:avLst/>
          </a:prstGeom>
          <a:solidFill>
            <a:schemeClr val="bg1">
              <a:lumMod val="95000"/>
            </a:schemeClr>
          </a:solidFill>
        </p:spPr>
        <p:txBody>
          <a:bodyPr vert="horz" lIns="72000" tIns="72000" rIns="72000" bIns="7200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172800" indent="-172800">
              <a:spcBef>
                <a:spcPts val="300"/>
              </a:spcBef>
              <a:spcAft>
                <a:spcPts val="300"/>
              </a:spcAft>
              <a:buBlip>
                <a:blip r:embed="rId3"/>
              </a:buBlip>
            </a:pPr>
            <a:r>
              <a:rPr lang="lv-LV" sz="900" b="0" dirty="0">
                <a:solidFill>
                  <a:schemeClr val="tx1"/>
                </a:solidFill>
                <a:ea typeface="Open Sans"/>
                <a:cs typeface="Open Sans"/>
              </a:rPr>
              <a:t>Izmantoti attēli no tīmekļa vietnes "</a:t>
            </a:r>
            <a:r>
              <a:rPr lang="lv-LV" sz="900" b="0" dirty="0" err="1">
                <a:solidFill>
                  <a:schemeClr val="tx1"/>
                </a:solidFill>
                <a:ea typeface="Open Sans"/>
                <a:cs typeface="Open Sans"/>
              </a:rPr>
              <a:t>Unsplash</a:t>
            </a:r>
            <a:r>
              <a:rPr lang="lv-LV" sz="900" b="0" dirty="0">
                <a:solidFill>
                  <a:schemeClr val="tx1"/>
                </a:solidFill>
                <a:ea typeface="Open Sans"/>
                <a:cs typeface="Open Sans"/>
              </a:rPr>
              <a:t>". </a:t>
            </a:r>
            <a:r>
              <a:rPr lang="lv-LV" sz="900" b="0">
                <a:solidFill>
                  <a:schemeClr val="tx1"/>
                </a:solidFill>
                <a:ea typeface="Open Sans"/>
                <a:cs typeface="Open Sans"/>
              </a:rPr>
              <a:t>Pieejams: </a:t>
            </a:r>
            <a:r>
              <a:rPr lang="lv-LV" sz="900" b="0">
                <a:solidFill>
                  <a:srgbClr val="A8192D"/>
                </a:solidFill>
                <a:ea typeface="Open Sans"/>
                <a:cs typeface="Open Sans"/>
              </a:rPr>
              <a:t>https://unsplash.com/</a:t>
            </a:r>
            <a:endParaRPr lang="lv-LV" sz="900" b="0">
              <a:solidFill>
                <a:srgbClr val="000000"/>
              </a:solidFill>
              <a:ea typeface="Open Sans"/>
              <a:cs typeface="Open Sans"/>
            </a:endParaRPr>
          </a:p>
          <a:p>
            <a:pPr marL="172800" indent="-172800">
              <a:spcBef>
                <a:spcPts val="300"/>
              </a:spcBef>
              <a:spcAft>
                <a:spcPts val="300"/>
              </a:spcAft>
              <a:buBlip>
                <a:blip r:embed="rId3"/>
              </a:buBlip>
            </a:pPr>
            <a:r>
              <a:rPr lang="lv-LV" sz="900" b="0" dirty="0">
                <a:solidFill>
                  <a:srgbClr val="000000"/>
                </a:solidFill>
                <a:ea typeface="Open Sans"/>
                <a:cs typeface="Open Sans"/>
              </a:rPr>
              <a:t>Civilās aizsardzības un katastrofas pārvaldīšanas likums. Pieejams: </a:t>
            </a:r>
            <a:r>
              <a:rPr lang="lv-LV" sz="900" b="0" dirty="0">
                <a:solidFill>
                  <a:srgbClr val="A8192D"/>
                </a:solidFill>
                <a:ea typeface="Open Sans"/>
                <a:cs typeface="Open Sans"/>
              </a:rPr>
              <a:t>https://likumi.lv/ta/id/282333</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09. gada 24. novembra noteikumi Nr. 1354 "Noteikumi par sākotnējo plūdu riska novērtējumu, plūdu kartēm un plūdu riska pārvaldības plānu". Pieejams:</a:t>
            </a:r>
            <a:r>
              <a:rPr lang="lv-LV" sz="900" b="0" dirty="0">
                <a:solidFill>
                  <a:schemeClr val="tx1"/>
                </a:solidFill>
                <a:ea typeface="Open Sans"/>
                <a:cs typeface="Open Sans"/>
              </a:rPr>
              <a:t> </a:t>
            </a:r>
            <a:r>
              <a:rPr lang="lv-LV" sz="900" b="0" dirty="0">
                <a:solidFill>
                  <a:srgbClr val="A8192D"/>
                </a:solidFill>
                <a:ea typeface="Open Sans"/>
                <a:cs typeface="Open Sans"/>
              </a:rPr>
              <a:t>https://likumi.lv/ta/id/201369</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2 "Starptautiskās palīdzības pieprasīšanas kārtība". Pieejams: </a:t>
            </a:r>
            <a:r>
              <a:rPr lang="lv-LV" sz="900" b="0" dirty="0">
                <a:solidFill>
                  <a:srgbClr val="A8192D"/>
                </a:solidFill>
                <a:ea typeface="Open Sans"/>
                <a:cs typeface="Open Sans"/>
              </a:rPr>
              <a:t>https://likumi.lv/ta/id/295779</a:t>
            </a:r>
          </a:p>
          <a:p>
            <a:pPr marL="172800" indent="-172800">
              <a:spcBef>
                <a:spcPts val="300"/>
              </a:spcBef>
              <a:spcAft>
                <a:spcPts val="300"/>
              </a:spcAft>
              <a:buBlip>
                <a:blip r:embed="rId3"/>
              </a:buBlip>
            </a:pPr>
            <a:r>
              <a:rPr lang="lv-LV" sz="900" b="0" dirty="0">
                <a:solidFill>
                  <a:srgbClr val="000000"/>
                </a:solidFill>
                <a:ea typeface="Open Sans"/>
                <a:cs typeface="Open Sans"/>
              </a:rPr>
              <a:t>Ministru kabineta 2017. gada 12. decembra noteikumi Nr. 721 "Humānās palīdzības saņemšanas un sniegšanas kārtība". Pieejams: </a:t>
            </a:r>
            <a:r>
              <a:rPr lang="lv-LV" sz="900" b="0" dirty="0">
                <a:solidFill>
                  <a:srgbClr val="A8192D"/>
                </a:solidFill>
                <a:ea typeface="Open Sans"/>
                <a:cs typeface="Open Sans"/>
              </a:rPr>
              <a:t>https://likumi.lv/ta/id/295778</a:t>
            </a:r>
          </a:p>
          <a:p>
            <a:pPr marL="172800" indent="-172800">
              <a:spcBef>
                <a:spcPts val="300"/>
              </a:spcBef>
              <a:spcAft>
                <a:spcPts val="300"/>
              </a:spcAft>
              <a:buBlip>
                <a:blip r:embed="rId3"/>
              </a:buBlip>
            </a:pPr>
            <a:r>
              <a:rPr lang="lv-LV" sz="900" b="0" dirty="0">
                <a:solidFill>
                  <a:srgbClr val="000000"/>
                </a:solidFill>
                <a:ea typeface="Open Sans"/>
                <a:cs typeface="Open Sans"/>
              </a:rPr>
              <a:t>Nacionālās drošības likums. Pieejams: </a:t>
            </a:r>
            <a:r>
              <a:rPr lang="lv-LV" sz="900" b="0" dirty="0">
                <a:solidFill>
                  <a:srgbClr val="A8192D"/>
                </a:solidFill>
                <a:ea typeface="Open Sans"/>
                <a:cs typeface="Open Sans"/>
              </a:rPr>
              <a:t>https://likumi.lv/ta/id/14011</a:t>
            </a:r>
          </a:p>
          <a:p>
            <a:pPr marL="172800" indent="-172800">
              <a:spcBef>
                <a:spcPts val="300"/>
              </a:spcBef>
              <a:spcAft>
                <a:spcPts val="300"/>
              </a:spcAft>
              <a:buBlip>
                <a:blip r:embed="rId3"/>
              </a:buBlip>
            </a:pPr>
            <a:r>
              <a:rPr lang="lv-LV" sz="900" b="0" dirty="0" err="1">
                <a:solidFill>
                  <a:srgbClr val="000000"/>
                </a:solidFill>
                <a:ea typeface="Open Sans"/>
                <a:cs typeface="Open Sans"/>
              </a:rPr>
              <a:t>Riigikogu</a:t>
            </a:r>
            <a:r>
              <a:rPr lang="lv-LV" sz="900" b="0" dirty="0">
                <a:solidFill>
                  <a:srgbClr val="000000"/>
                </a:solidFill>
                <a:ea typeface="Open Sans"/>
                <a:cs typeface="Open Sans"/>
              </a:rPr>
              <a:t>. </a:t>
            </a:r>
            <a:r>
              <a:rPr lang="lv-LV" sz="900" b="0" dirty="0" err="1">
                <a:solidFill>
                  <a:srgbClr val="000000"/>
                </a:solidFill>
                <a:ea typeface="Open Sans"/>
                <a:cs typeface="Open Sans"/>
              </a:rPr>
              <a:t>Eesti</a:t>
            </a:r>
            <a:r>
              <a:rPr lang="lv-LV" sz="900" b="0" dirty="0">
                <a:solidFill>
                  <a:srgbClr val="000000"/>
                </a:solidFill>
                <a:ea typeface="Open Sans"/>
                <a:cs typeface="Open Sans"/>
              </a:rPr>
              <a:t> </a:t>
            </a:r>
            <a:r>
              <a:rPr lang="lv-LV" sz="900" b="0" dirty="0" err="1">
                <a:solidFill>
                  <a:srgbClr val="000000"/>
                </a:solidFill>
                <a:ea typeface="Open Sans"/>
                <a:cs typeface="Open Sans"/>
              </a:rPr>
              <a:t>julgeolekupoliitika</a:t>
            </a:r>
            <a:r>
              <a:rPr lang="lv-LV" sz="900" b="0" dirty="0">
                <a:solidFill>
                  <a:srgbClr val="000000"/>
                </a:solidFill>
                <a:ea typeface="Open Sans"/>
                <a:cs typeface="Open Sans"/>
              </a:rPr>
              <a:t> </a:t>
            </a:r>
            <a:r>
              <a:rPr lang="lv-LV" sz="900" b="0" dirty="0" err="1">
                <a:solidFill>
                  <a:srgbClr val="000000"/>
                </a:solidFill>
                <a:ea typeface="Open Sans"/>
                <a:cs typeface="Open Sans"/>
              </a:rPr>
              <a:t>alused</a:t>
            </a:r>
            <a:r>
              <a:rPr lang="lv-LV" sz="900" b="0" dirty="0">
                <a:solidFill>
                  <a:srgbClr val="000000"/>
                </a:solidFill>
                <a:ea typeface="Open Sans"/>
                <a:cs typeface="Open Sans"/>
              </a:rPr>
              <a:t>. Pieejams: </a:t>
            </a:r>
            <a:r>
              <a:rPr lang="lv-LV" sz="900" b="0" dirty="0">
                <a:solidFill>
                  <a:srgbClr val="A8192D"/>
                </a:solidFill>
                <a:ea typeface="Open Sans"/>
                <a:cs typeface="Open Sans"/>
              </a:rPr>
              <a:t>https://www.riigiteataja.ee/aktilisa/3280/2202/3001/julgeolekupoliitika_2023.pdf</a:t>
            </a:r>
          </a:p>
          <a:p>
            <a:pPr marL="172800" indent="-172800">
              <a:spcBef>
                <a:spcPts val="300"/>
              </a:spcBef>
              <a:spcAft>
                <a:spcPts val="300"/>
              </a:spcAft>
              <a:buBlip>
                <a:blip r:embed="rId3"/>
              </a:buBlip>
            </a:pPr>
            <a:r>
              <a:rPr lang="lv-LV" sz="900" b="0" dirty="0" err="1">
                <a:solidFill>
                  <a:srgbClr val="000000"/>
                </a:solidFill>
                <a:ea typeface="Open Sans"/>
                <a:cs typeface="Open Sans"/>
              </a:rPr>
              <a:t>Wikipedia</a:t>
            </a:r>
            <a:r>
              <a:rPr lang="lv-LV" sz="900" b="0" dirty="0">
                <a:solidFill>
                  <a:srgbClr val="000000"/>
                </a:solidFill>
                <a:ea typeface="Open Sans"/>
                <a:cs typeface="Open Sans"/>
              </a:rPr>
              <a:t>. Geneva </a:t>
            </a:r>
            <a:r>
              <a:rPr lang="lv-LV" sz="900" b="0" dirty="0" err="1">
                <a:solidFill>
                  <a:srgbClr val="000000"/>
                </a:solidFill>
                <a:ea typeface="Open Sans"/>
                <a:cs typeface="Open Sans"/>
              </a:rPr>
              <a:t>Conventions</a:t>
            </a:r>
            <a:r>
              <a:rPr lang="lv-LV" sz="900" b="0" dirty="0">
                <a:solidFill>
                  <a:srgbClr val="000000"/>
                </a:solidFill>
                <a:ea typeface="Open Sans"/>
                <a:cs typeface="Open Sans"/>
              </a:rPr>
              <a:t>. Pieejams: </a:t>
            </a:r>
            <a:r>
              <a:rPr lang="lv-LV" sz="900" b="0" dirty="0">
                <a:solidFill>
                  <a:srgbClr val="A8192D"/>
                </a:solidFill>
                <a:ea typeface="Open Sans"/>
                <a:cs typeface="Open Sans"/>
              </a:rPr>
              <a:t>https://en.wikipedia.org/wiki/Geneva_Conventions</a:t>
            </a:r>
          </a:p>
          <a:p>
            <a:pPr marL="172800" indent="-172800">
              <a:spcBef>
                <a:spcPts val="300"/>
              </a:spcBef>
              <a:spcAft>
                <a:spcPts val="300"/>
              </a:spcAft>
              <a:buBlip>
                <a:blip r:embed="rId3"/>
              </a:buBlip>
            </a:pPr>
            <a:r>
              <a:rPr lang="en-US" sz="900" b="0" dirty="0">
                <a:solidFill>
                  <a:srgbClr val="000000"/>
                </a:solidFill>
                <a:ea typeface="Open Sans"/>
                <a:cs typeface="Open Sans"/>
              </a:rPr>
              <a:t>International Committee of the Red Cross</a:t>
            </a:r>
            <a:r>
              <a:rPr lang="lv-LV" sz="900" b="0" dirty="0">
                <a:solidFill>
                  <a:srgbClr val="000000"/>
                </a:solidFill>
                <a:ea typeface="Open Sans"/>
                <a:cs typeface="Open Sans"/>
              </a:rPr>
              <a:t>. </a:t>
            </a:r>
            <a:r>
              <a:rPr lang="en-US" sz="900" b="0" dirty="0">
                <a:solidFill>
                  <a:srgbClr val="000000"/>
                </a:solidFill>
                <a:ea typeface="Open Sans"/>
                <a:cs typeface="Open Sans"/>
              </a:rPr>
              <a:t>The Geneva Conventions of 1949</a:t>
            </a:r>
            <a:r>
              <a:rPr lang="lv-LV" sz="900" b="0" dirty="0">
                <a:solidFill>
                  <a:srgbClr val="000000"/>
                </a:solidFill>
                <a:ea typeface="Open Sans"/>
                <a:cs typeface="Open Sans"/>
              </a:rPr>
              <a:t>,</a:t>
            </a:r>
            <a:r>
              <a:rPr lang="en-US" sz="900" b="0" dirty="0">
                <a:solidFill>
                  <a:srgbClr val="000000"/>
                </a:solidFill>
                <a:ea typeface="Open Sans"/>
                <a:cs typeface="Open Sans"/>
              </a:rPr>
              <a:t> Additional Protocols</a:t>
            </a:r>
            <a:r>
              <a:rPr lang="lv-LV" sz="900" b="0" dirty="0">
                <a:solidFill>
                  <a:srgbClr val="000000"/>
                </a:solidFill>
                <a:ea typeface="Open Sans"/>
                <a:cs typeface="Open Sans"/>
              </a:rPr>
              <a:t> </a:t>
            </a:r>
            <a:r>
              <a:rPr lang="en-US" sz="900" b="0" dirty="0">
                <a:solidFill>
                  <a:srgbClr val="000000"/>
                </a:solidFill>
                <a:ea typeface="Open Sans"/>
                <a:cs typeface="Open Sans"/>
              </a:rPr>
              <a:t>and their </a:t>
            </a:r>
            <a:r>
              <a:rPr lang="lv-LV" sz="900" b="0" dirty="0" err="1">
                <a:solidFill>
                  <a:srgbClr val="000000"/>
                </a:solidFill>
                <a:ea typeface="Open Sans"/>
                <a:cs typeface="Open Sans"/>
              </a:rPr>
              <a:t>Commentaries</a:t>
            </a:r>
            <a:r>
              <a:rPr lang="lv-LV" sz="900" b="0" dirty="0">
                <a:solidFill>
                  <a:srgbClr val="000000"/>
                </a:solidFill>
                <a:ea typeface="Open Sans"/>
                <a:cs typeface="Open Sans"/>
              </a:rPr>
              <a:t>. Pieejams: </a:t>
            </a:r>
            <a:r>
              <a:rPr lang="lv-LV" sz="900" b="0" dirty="0">
                <a:solidFill>
                  <a:srgbClr val="A8192D"/>
                </a:solidFill>
                <a:ea typeface="Open Sans"/>
                <a:cs typeface="Open Sans"/>
              </a:rPr>
              <a:t>https://ihl-databases.icrc.org/en/ihl-treaties/geneva-conventions-1949additional-protocols-and-their-commentaries</a:t>
            </a:r>
          </a:p>
        </p:txBody>
      </p:sp>
      <p:sp>
        <p:nvSpPr>
          <p:cNvPr id="2" name="Rectangle 1">
            <a:extLst>
              <a:ext uri="{FF2B5EF4-FFF2-40B4-BE49-F238E27FC236}">
                <a16:creationId xmlns:a16="http://schemas.microsoft.com/office/drawing/2014/main" id="{DD51D7FF-109E-02F6-DEFA-9DBB89C70812}"/>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dirty="0">
                <a:ln>
                  <a:noFill/>
                </a:ln>
                <a:solidFill>
                  <a:srgbClr val="A4A3B2"/>
                </a:solidFill>
                <a:effectLst/>
                <a:uLnTx/>
                <a:uFillTx/>
                <a:ea typeface="Georgia"/>
                <a:cs typeface="Georgia"/>
                <a:sym typeface="Georgia"/>
              </a:rPr>
              <a:t>1.</a:t>
            </a:r>
            <a:r>
              <a:rPr kumimoji="0" lang="en-US" sz="800" i="0" u="none" strike="noStrike" kern="0" cap="none" spc="0" normalizeH="0" baseline="0" noProof="0" dirty="0">
                <a:ln>
                  <a:noFill/>
                </a:ln>
                <a:solidFill>
                  <a:srgbClr val="A4A3B2"/>
                </a:solidFill>
                <a:effectLst/>
                <a:uLnTx/>
                <a:uFillTx/>
                <a:ea typeface="Georgia"/>
                <a:cs typeface="Georgia"/>
                <a:sym typeface="Georgia"/>
              </a:rPr>
              <a:t> </a:t>
            </a:r>
            <a:r>
              <a:rPr kumimoji="0" lang="lv-LV" sz="800" i="0" u="none" strike="noStrike" kern="0" cap="none" spc="0" normalizeH="0" baseline="0" noProof="0" dirty="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796361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2"/>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Satur</a:t>
            </a:r>
            <a:r>
              <a:rPr lang="lv-LV"/>
              <a:t>a </a:t>
            </a:r>
            <a:r>
              <a:rPr lang="en-GB" err="1"/>
              <a:t>rādītāj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1.1. Civilās aizsardzības jēdziens</a:t>
            </a:r>
          </a:p>
          <a:p>
            <a:pPr>
              <a:spcAft>
                <a:spcPts val="600"/>
              </a:spcAft>
            </a:pPr>
            <a:r>
              <a:rPr lang="lv-LV" sz="1600">
                <a:cs typeface="Arial"/>
              </a:rPr>
              <a:t>1.2. Civilās aizsardzības sistēmas uzdevumi</a:t>
            </a:r>
          </a:p>
          <a:p>
            <a:pPr>
              <a:spcAft>
                <a:spcPts val="600"/>
              </a:spcAft>
            </a:pPr>
            <a:r>
              <a:rPr lang="lv-LV" sz="1600">
                <a:cs typeface="Arial"/>
              </a:rPr>
              <a:t>1.3. Ieskats civilās aizsardzības vēsturē</a:t>
            </a:r>
            <a:endParaRPr lang="en-US" sz="1600">
              <a:cs typeface="Arial"/>
            </a:endParaRP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7" name="Rectangle 6">
            <a:extLst>
              <a:ext uri="{FF2B5EF4-FFF2-40B4-BE49-F238E27FC236}">
                <a16:creationId xmlns:a16="http://schemas.microsoft.com/office/drawing/2014/main" id="{B5FA4616-042E-5F82-57CD-EF6B4EA3B539}"/>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92098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7288C311-F591-804C-853B-2A26C1D09E42}"/>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7CAF328F-E489-C18B-505D-112CFD1ACF17}"/>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84A9848E-94B1-09E8-1155-2A87356AC5A2}"/>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spcBef>
                <a:spcPts val="1000"/>
              </a:spcBef>
            </a:pPr>
            <a:r>
              <a:rPr lang="lv-LV" sz="4400">
                <a:latin typeface="+mj-lt"/>
              </a:rPr>
              <a:t>1.1. Civilās aizsardzības jēdziens</a:t>
            </a:r>
            <a:endParaRPr lang="en-US" sz="4400">
              <a:latin typeface="+mj-lt"/>
            </a:endParaRPr>
          </a:p>
        </p:txBody>
      </p:sp>
      <p:sp>
        <p:nvSpPr>
          <p:cNvPr id="11" name="Rectangle 10">
            <a:extLst>
              <a:ext uri="{FF2B5EF4-FFF2-40B4-BE49-F238E27FC236}">
                <a16:creationId xmlns:a16="http://schemas.microsoft.com/office/drawing/2014/main" id="{B2B9CC7A-1657-C8F4-F089-91D904D84EE3}"/>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A6DA264-E308-494F-C453-A846AF500AC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73A629FD-22CC-5869-C50A-1E8C4943BDA2}"/>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33E09333-55DA-1C36-6178-4BBB8995CE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32569D7C-2B14-1338-5295-034048F88B7A}"/>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2035770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a close up of a rifle with a scope">
            <a:extLst>
              <a:ext uri="{FF2B5EF4-FFF2-40B4-BE49-F238E27FC236}">
                <a16:creationId xmlns:a16="http://schemas.microsoft.com/office/drawing/2014/main" id="{4D8A3D2C-BDC9-AE09-98FB-D47CF1AAB1E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8221662" y="1819274"/>
            <a:ext cx="3530600" cy="340518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B885F1B0-A981-3121-197B-F2649A6CDFB6}"/>
              </a:ext>
            </a:extLst>
          </p:cNvPr>
          <p:cNvPicPr>
            <a:picLocks noChangeAspect="1"/>
          </p:cNvPicPr>
          <p:nvPr/>
        </p:nvPicPr>
        <p:blipFill rotWithShape="1">
          <a:blip r:embed="rId4"/>
          <a:srcRect l="8794" r="11008" b="5"/>
          <a:stretch/>
        </p:blipFill>
        <p:spPr>
          <a:xfrm>
            <a:off x="4330700" y="1819276"/>
            <a:ext cx="3530600" cy="3405186"/>
          </a:xfrm>
          <a:prstGeom prst="rect">
            <a:avLst/>
          </a:prstGeom>
          <a:solidFill>
            <a:schemeClr val="tx1"/>
          </a:solidFill>
        </p:spPr>
      </p:pic>
      <p:pic>
        <p:nvPicPr>
          <p:cNvPr id="20" name="Picture 19">
            <a:extLst>
              <a:ext uri="{FF2B5EF4-FFF2-40B4-BE49-F238E27FC236}">
                <a16:creationId xmlns:a16="http://schemas.microsoft.com/office/drawing/2014/main" id="{E3369EF4-6952-08D6-D304-D08FE120DA9E}"/>
              </a:ext>
            </a:extLst>
          </p:cNvPr>
          <p:cNvPicPr>
            <a:picLocks noChangeAspect="1"/>
          </p:cNvPicPr>
          <p:nvPr/>
        </p:nvPicPr>
        <p:blipFill rotWithShape="1">
          <a:blip r:embed="rId5"/>
          <a:srcRect r="30882" b="5"/>
          <a:stretch/>
        </p:blipFill>
        <p:spPr>
          <a:xfrm>
            <a:off x="441326" y="1819276"/>
            <a:ext cx="3530600" cy="3405186"/>
          </a:xfrm>
          <a:prstGeom prst="rect">
            <a:avLst/>
          </a:prstGeom>
          <a:solidFill>
            <a:schemeClr val="tx1"/>
          </a:solidFill>
        </p:spPr>
      </p:pic>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5</a:t>
            </a:fld>
            <a:endParaRPr lang="en-GB"/>
          </a:p>
        </p:txBody>
      </p:sp>
      <p:sp>
        <p:nvSpPr>
          <p:cNvPr id="2" name="Content Placeholder 1">
            <a:extLst>
              <a:ext uri="{FF2B5EF4-FFF2-40B4-BE49-F238E27FC236}">
                <a16:creationId xmlns:a16="http://schemas.microsoft.com/office/drawing/2014/main" id="{EAC9E6C7-B89C-EBAB-B27F-EB082616F88B}"/>
              </a:ext>
            </a:extLst>
          </p:cNvPr>
          <p:cNvSpPr>
            <a:spLocks noGrp="1"/>
          </p:cNvSpPr>
          <p:nvPr>
            <p:ph idx="4294967295"/>
          </p:nvPr>
        </p:nvSpPr>
        <p:spPr>
          <a:xfrm>
            <a:off x="442913" y="1819276"/>
            <a:ext cx="3529013" cy="3405382"/>
          </a:xfrm>
          <a:solidFill>
            <a:schemeClr val="tx1">
              <a:alpha val="35000"/>
            </a:schemeClr>
          </a:solidFill>
        </p:spPr>
        <p:txBody>
          <a:bodyPr vert="horz" lIns="72000" tIns="72000" rIns="72000" bIns="72000" rtlCol="0" anchor="ctr">
            <a:noAutofit/>
          </a:bodyPr>
          <a:lstStyle/>
          <a:p>
            <a:pPr marL="0" indent="0">
              <a:buNone/>
            </a:pPr>
            <a:r>
              <a:rPr lang="lv-LV" altLang="lv-LV" sz="1600" b="1" dirty="0">
                <a:solidFill>
                  <a:schemeClr val="bg1"/>
                </a:solidFill>
                <a:cs typeface="Arial"/>
              </a:rPr>
              <a:t>Ko, Jūsuprāt, nozīmē termins "civilā aizsardzība"? </a:t>
            </a:r>
            <a:endParaRPr lang="en-US" altLang="lv-LV" sz="1600" dirty="0">
              <a:solidFill>
                <a:schemeClr val="bg1"/>
              </a:solidFill>
            </a:endParaRPr>
          </a:p>
        </p:txBody>
      </p:sp>
      <p:sp>
        <p:nvSpPr>
          <p:cNvPr id="10" name="Content Placeholder 1">
            <a:extLst>
              <a:ext uri="{FF2B5EF4-FFF2-40B4-BE49-F238E27FC236}">
                <a16:creationId xmlns:a16="http://schemas.microsoft.com/office/drawing/2014/main" id="{77A8870A-530C-D658-252C-6DCA2EB01BB1}"/>
              </a:ext>
            </a:extLst>
          </p:cNvPr>
          <p:cNvSpPr txBox="1">
            <a:spLocks/>
          </p:cNvSpPr>
          <p:nvPr/>
        </p:nvSpPr>
        <p:spPr>
          <a:xfrm>
            <a:off x="4332287" y="1819274"/>
            <a:ext cx="3529013" cy="3405188"/>
          </a:xfrm>
          <a:prstGeom prst="rect">
            <a:avLst/>
          </a:prstGeom>
          <a:solidFill>
            <a:schemeClr val="tx1">
              <a:alpha val="53000"/>
            </a:schemeClr>
          </a:solid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altLang="lv-LV" sz="1600" dirty="0">
                <a:solidFill>
                  <a:schemeClr val="bg1"/>
                </a:solidFill>
                <a:cs typeface="Arial"/>
              </a:rPr>
              <a:t>Kādi varētu būt civilās aizsardzības uzdevumi?</a:t>
            </a:r>
            <a:endParaRPr lang="en-US" altLang="lv-LV" sz="1600" dirty="0">
              <a:solidFill>
                <a:schemeClr val="bg1"/>
              </a:solidFill>
              <a:cs typeface="Arial"/>
            </a:endParaRPr>
          </a:p>
        </p:txBody>
      </p:sp>
      <p:sp>
        <p:nvSpPr>
          <p:cNvPr id="11" name="Content Placeholder 1">
            <a:extLst>
              <a:ext uri="{FF2B5EF4-FFF2-40B4-BE49-F238E27FC236}">
                <a16:creationId xmlns:a16="http://schemas.microsoft.com/office/drawing/2014/main" id="{044AC7DC-54F4-A992-22B4-CC9CCD17EC12}"/>
              </a:ext>
            </a:extLst>
          </p:cNvPr>
          <p:cNvSpPr txBox="1">
            <a:spLocks/>
          </p:cNvSpPr>
          <p:nvPr/>
        </p:nvSpPr>
        <p:spPr>
          <a:xfrm>
            <a:off x="8221662" y="1819274"/>
            <a:ext cx="3529013" cy="3405188"/>
          </a:xfrm>
          <a:prstGeom prst="rect">
            <a:avLst/>
          </a:prstGeom>
          <a:noFill/>
        </p:spPr>
        <p:txBody>
          <a:bodyPr vert="horz"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lv-LV" altLang="lv-LV" sz="1600" dirty="0">
                <a:solidFill>
                  <a:schemeClr val="bg1"/>
                </a:solidFill>
                <a:cs typeface="Arial"/>
              </a:rPr>
              <a:t>Vai Jūs esat </a:t>
            </a:r>
            <a:r>
              <a:rPr lang="lv-LV" altLang="lv-LV" sz="1600" dirty="0" err="1">
                <a:solidFill>
                  <a:schemeClr val="bg1"/>
                </a:solidFill>
                <a:cs typeface="Arial"/>
              </a:rPr>
              <a:t>saskārušies</a:t>
            </a:r>
            <a:r>
              <a:rPr lang="lv-LV" altLang="lv-LV" sz="1600" dirty="0">
                <a:solidFill>
                  <a:schemeClr val="bg1"/>
                </a:solidFill>
                <a:cs typeface="Arial"/>
              </a:rPr>
              <a:t> ar civilās aizsardzības pasākumiem savā ikdienā? </a:t>
            </a:r>
            <a:endParaRPr lang="lv-LV" sz="1600" dirty="0">
              <a:solidFill>
                <a:schemeClr val="bg1"/>
              </a:solidFill>
              <a:cs typeface="Arial"/>
            </a:endParaRPr>
          </a:p>
        </p:txBody>
      </p:sp>
      <p:sp>
        <p:nvSpPr>
          <p:cNvPr id="12" name="Rectangle 11">
            <a:extLst>
              <a:ext uri="{FF2B5EF4-FFF2-40B4-BE49-F238E27FC236}">
                <a16:creationId xmlns:a16="http://schemas.microsoft.com/office/drawing/2014/main" id="{6A380495-5459-211E-F2DB-1C38CD0AD51E}"/>
              </a:ext>
            </a:extLst>
          </p:cNvPr>
          <p:cNvSpPr/>
          <p:nvPr/>
        </p:nvSpPr>
        <p:spPr>
          <a:xfrm>
            <a:off x="1139874" y="5586608"/>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a:lnSpc>
                <a:spcPct val="100000"/>
              </a:lnSpc>
            </a:pPr>
            <a:r>
              <a:rPr lang="lv-LV" altLang="lv-LV" sz="1600" b="1">
                <a:solidFill>
                  <a:schemeClr val="tx1"/>
                </a:solidFill>
                <a:cs typeface="Arial"/>
              </a:rPr>
              <a:t>Lūdzu, miniet piemērus!</a:t>
            </a:r>
            <a:endParaRPr lang="en-US" sz="1600" b="1">
              <a:solidFill>
                <a:schemeClr val="tx1"/>
              </a:solidFill>
            </a:endParaRPr>
          </a:p>
        </p:txBody>
      </p:sp>
      <p:sp>
        <p:nvSpPr>
          <p:cNvPr id="24" name="Rectangle 23">
            <a:extLst>
              <a:ext uri="{FF2B5EF4-FFF2-40B4-BE49-F238E27FC236}">
                <a16:creationId xmlns:a16="http://schemas.microsoft.com/office/drawing/2014/main" id="{3CE2557D-8930-F08D-3B43-4C552AC44AF2}"/>
              </a:ext>
            </a:extLst>
          </p:cNvPr>
          <p:cNvSpPr/>
          <p:nvPr/>
        </p:nvSpPr>
        <p:spPr>
          <a:xfrm>
            <a:off x="442912" y="5589587"/>
            <a:ext cx="586800" cy="585788"/>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3" name="Freeform 45">
            <a:extLst>
              <a:ext uri="{FF2B5EF4-FFF2-40B4-BE49-F238E27FC236}">
                <a16:creationId xmlns:a16="http://schemas.microsoft.com/office/drawing/2014/main" id="{6B72D171-A34B-DA45-9FDF-8B6108CE8DFC}"/>
              </a:ext>
            </a:extLst>
          </p:cNvPr>
          <p:cNvSpPr>
            <a:spLocks noChangeAspect="1" noEditPoints="1"/>
          </p:cNvSpPr>
          <p:nvPr/>
        </p:nvSpPr>
        <p:spPr bwMode="auto">
          <a:xfrm>
            <a:off x="508360" y="5653881"/>
            <a:ext cx="455905" cy="457200"/>
          </a:xfrm>
          <a:custGeom>
            <a:avLst/>
            <a:gdLst>
              <a:gd name="T0" fmla="*/ 530 w 704"/>
              <a:gd name="T1" fmla="*/ 0 h 706"/>
              <a:gd name="T2" fmla="*/ 530 w 704"/>
              <a:gd name="T3" fmla="*/ 613 h 706"/>
              <a:gd name="T4" fmla="*/ 589 w 704"/>
              <a:gd name="T5" fmla="*/ 706 h 706"/>
              <a:gd name="T6" fmla="*/ 649 w 704"/>
              <a:gd name="T7" fmla="*/ 613 h 706"/>
              <a:gd name="T8" fmla="*/ 649 w 704"/>
              <a:gd name="T9" fmla="*/ 31 h 706"/>
              <a:gd name="T10" fmla="*/ 673 w 704"/>
              <a:gd name="T11" fmla="*/ 31 h 706"/>
              <a:gd name="T12" fmla="*/ 673 w 704"/>
              <a:gd name="T13" fmla="*/ 253 h 706"/>
              <a:gd name="T14" fmla="*/ 704 w 704"/>
              <a:gd name="T15" fmla="*/ 253 h 706"/>
              <a:gd name="T16" fmla="*/ 704 w 704"/>
              <a:gd name="T17" fmla="*/ 0 h 706"/>
              <a:gd name="T18" fmla="*/ 530 w 704"/>
              <a:gd name="T19" fmla="*/ 0 h 706"/>
              <a:gd name="T20" fmla="*/ 618 w 704"/>
              <a:gd name="T21" fmla="*/ 31 h 706"/>
              <a:gd name="T22" fmla="*/ 618 w 704"/>
              <a:gd name="T23" fmla="*/ 238 h 706"/>
              <a:gd name="T24" fmla="*/ 561 w 704"/>
              <a:gd name="T25" fmla="*/ 238 h 706"/>
              <a:gd name="T26" fmla="*/ 561 w 704"/>
              <a:gd name="T27" fmla="*/ 31 h 706"/>
              <a:gd name="T28" fmla="*/ 618 w 704"/>
              <a:gd name="T29" fmla="*/ 31 h 706"/>
              <a:gd name="T30" fmla="*/ 589 w 704"/>
              <a:gd name="T31" fmla="*/ 651 h 706"/>
              <a:gd name="T32" fmla="*/ 561 w 704"/>
              <a:gd name="T33" fmla="*/ 605 h 706"/>
              <a:gd name="T34" fmla="*/ 561 w 704"/>
              <a:gd name="T35" fmla="*/ 269 h 706"/>
              <a:gd name="T36" fmla="*/ 618 w 704"/>
              <a:gd name="T37" fmla="*/ 269 h 706"/>
              <a:gd name="T38" fmla="*/ 618 w 704"/>
              <a:gd name="T39" fmla="*/ 605 h 706"/>
              <a:gd name="T40" fmla="*/ 589 w 704"/>
              <a:gd name="T41" fmla="*/ 651 h 706"/>
              <a:gd name="T42" fmla="*/ 352 w 704"/>
              <a:gd name="T43" fmla="*/ 178 h 706"/>
              <a:gd name="T44" fmla="*/ 117 w 704"/>
              <a:gd name="T45" fmla="*/ 178 h 706"/>
              <a:gd name="T46" fmla="*/ 117 w 704"/>
              <a:gd name="T47" fmla="*/ 149 h 706"/>
              <a:gd name="T48" fmla="*/ 352 w 704"/>
              <a:gd name="T49" fmla="*/ 149 h 706"/>
              <a:gd name="T50" fmla="*/ 352 w 704"/>
              <a:gd name="T51" fmla="*/ 178 h 706"/>
              <a:gd name="T52" fmla="*/ 352 w 704"/>
              <a:gd name="T53" fmla="*/ 305 h 706"/>
              <a:gd name="T54" fmla="*/ 117 w 704"/>
              <a:gd name="T55" fmla="*/ 305 h 706"/>
              <a:gd name="T56" fmla="*/ 117 w 704"/>
              <a:gd name="T57" fmla="*/ 275 h 706"/>
              <a:gd name="T58" fmla="*/ 352 w 704"/>
              <a:gd name="T59" fmla="*/ 275 h 706"/>
              <a:gd name="T60" fmla="*/ 352 w 704"/>
              <a:gd name="T61" fmla="*/ 305 h 706"/>
              <a:gd name="T62" fmla="*/ 352 w 704"/>
              <a:gd name="T63" fmla="*/ 433 h 706"/>
              <a:gd name="T64" fmla="*/ 117 w 704"/>
              <a:gd name="T65" fmla="*/ 433 h 706"/>
              <a:gd name="T66" fmla="*/ 117 w 704"/>
              <a:gd name="T67" fmla="*/ 402 h 706"/>
              <a:gd name="T68" fmla="*/ 352 w 704"/>
              <a:gd name="T69" fmla="*/ 402 h 706"/>
              <a:gd name="T70" fmla="*/ 352 w 704"/>
              <a:gd name="T71" fmla="*/ 433 h 706"/>
              <a:gd name="T72" fmla="*/ 352 w 704"/>
              <a:gd name="T73" fmla="*/ 559 h 706"/>
              <a:gd name="T74" fmla="*/ 117 w 704"/>
              <a:gd name="T75" fmla="*/ 559 h 706"/>
              <a:gd name="T76" fmla="*/ 117 w 704"/>
              <a:gd name="T77" fmla="*/ 530 h 706"/>
              <a:gd name="T78" fmla="*/ 352 w 704"/>
              <a:gd name="T79" fmla="*/ 530 h 706"/>
              <a:gd name="T80" fmla="*/ 352 w 704"/>
              <a:gd name="T81" fmla="*/ 559 h 706"/>
              <a:gd name="T82" fmla="*/ 469 w 704"/>
              <a:gd name="T83" fmla="*/ 706 h 706"/>
              <a:gd name="T84" fmla="*/ 0 w 704"/>
              <a:gd name="T85" fmla="*/ 706 h 706"/>
              <a:gd name="T86" fmla="*/ 0 w 704"/>
              <a:gd name="T87" fmla="*/ 0 h 706"/>
              <a:gd name="T88" fmla="*/ 469 w 704"/>
              <a:gd name="T89" fmla="*/ 0 h 706"/>
              <a:gd name="T90" fmla="*/ 469 w 704"/>
              <a:gd name="T91" fmla="*/ 706 h 706"/>
              <a:gd name="T92" fmla="*/ 29 w 704"/>
              <a:gd name="T93" fmla="*/ 677 h 706"/>
              <a:gd name="T94" fmla="*/ 439 w 704"/>
              <a:gd name="T95" fmla="*/ 677 h 706"/>
              <a:gd name="T96" fmla="*/ 439 w 704"/>
              <a:gd name="T97" fmla="*/ 31 h 706"/>
              <a:gd name="T98" fmla="*/ 29 w 704"/>
              <a:gd name="T99" fmla="*/ 31 h 706"/>
              <a:gd name="T100" fmla="*/ 29 w 704"/>
              <a:gd name="T101" fmla="*/ 67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solidFill>
                <a:schemeClr val="bg1"/>
              </a:solidFill>
            </a:endParaRPr>
          </a:p>
        </p:txBody>
      </p:sp>
      <p:sp>
        <p:nvSpPr>
          <p:cNvPr id="5" name="Title 6">
            <a:extLst>
              <a:ext uri="{FF2B5EF4-FFF2-40B4-BE49-F238E27FC236}">
                <a16:creationId xmlns:a16="http://schemas.microsoft.com/office/drawing/2014/main" id="{EE44C624-EA21-FC60-D2BF-A8675F702027}"/>
              </a:ext>
            </a:extLst>
          </p:cNvPr>
          <p:cNvSpPr txBox="1">
            <a:spLocks/>
          </p:cNvSpPr>
          <p:nvPr/>
        </p:nvSpPr>
        <p:spPr>
          <a:xfrm>
            <a:off x="442913" y="432001"/>
            <a:ext cx="11306175" cy="1387274"/>
          </a:xfrm>
          <a:prstGeom prst="rect">
            <a:avLst/>
          </a:prstGeom>
        </p:spPr>
        <p:txBody>
          <a:bodyPr vert="horz">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dirty="0"/>
              <a:t>Izglītojamo </a:t>
            </a:r>
            <a:r>
              <a:rPr lang="lv-LV" altLang="lv-LV"/>
              <a:t>izpratne un saskarsme ar civilo aizsardzību</a:t>
            </a:r>
            <a:endParaRPr lang="en-US"/>
          </a:p>
        </p:txBody>
      </p:sp>
      <p:grpSp>
        <p:nvGrpSpPr>
          <p:cNvPr id="26" name="Group 25">
            <a:extLst>
              <a:ext uri="{FF2B5EF4-FFF2-40B4-BE49-F238E27FC236}">
                <a16:creationId xmlns:a16="http://schemas.microsoft.com/office/drawing/2014/main" id="{A65202A6-4F33-E793-5A12-BDF32CBB0788}"/>
              </a:ext>
            </a:extLst>
          </p:cNvPr>
          <p:cNvGrpSpPr/>
          <p:nvPr/>
        </p:nvGrpSpPr>
        <p:grpSpPr>
          <a:xfrm>
            <a:off x="9547520" y="126781"/>
            <a:ext cx="2201568" cy="217488"/>
            <a:chOff x="9066749" y="126781"/>
            <a:chExt cx="2201568" cy="217488"/>
          </a:xfrm>
        </p:grpSpPr>
        <p:sp>
          <p:nvSpPr>
            <p:cNvPr id="14" name="Rectangle 13">
              <a:extLst>
                <a:ext uri="{FF2B5EF4-FFF2-40B4-BE49-F238E27FC236}">
                  <a16:creationId xmlns:a16="http://schemas.microsoft.com/office/drawing/2014/main" id="{43084D92-3310-A65D-E8F4-9740A1AEFEF2}"/>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15" name="Rectangle 14">
              <a:extLst>
                <a:ext uri="{FF2B5EF4-FFF2-40B4-BE49-F238E27FC236}">
                  <a16:creationId xmlns:a16="http://schemas.microsoft.com/office/drawing/2014/main" id="{ACA76032-0EEA-0383-4ABB-54550D221F34}"/>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16" name="Rectangle 15">
              <a:extLst>
                <a:ext uri="{FF2B5EF4-FFF2-40B4-BE49-F238E27FC236}">
                  <a16:creationId xmlns:a16="http://schemas.microsoft.com/office/drawing/2014/main" id="{D3B3E4DB-6CFA-A300-1A16-3CF7BCF4BE30}"/>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17" name="Rectangle 16">
              <a:extLst>
                <a:ext uri="{FF2B5EF4-FFF2-40B4-BE49-F238E27FC236}">
                  <a16:creationId xmlns:a16="http://schemas.microsoft.com/office/drawing/2014/main" id="{3DB9712F-9E3C-9250-F64A-353E7C271036}"/>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9" name="Rectangle 8">
            <a:extLst>
              <a:ext uri="{FF2B5EF4-FFF2-40B4-BE49-F238E27FC236}">
                <a16:creationId xmlns:a16="http://schemas.microsoft.com/office/drawing/2014/main" id="{2A37980C-9AE6-0213-CCE0-55BF661DD49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4271101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F098A7-B2BC-685B-65D4-4F664830ED6C}"/>
              </a:ext>
            </a:extLst>
          </p:cNvPr>
          <p:cNvSpPr>
            <a:spLocks noGrp="1"/>
          </p:cNvSpPr>
          <p:nvPr>
            <p:ph type="title"/>
          </p:nvPr>
        </p:nvSpPr>
        <p:spPr>
          <a:xfrm>
            <a:off x="442913" y="432001"/>
            <a:ext cx="11306175" cy="1387274"/>
          </a:xfrm>
        </p:spPr>
        <p:txBody>
          <a:bodyPr vert="horz">
            <a:normAutofit/>
          </a:bodyPr>
          <a:lstStyle/>
          <a:p>
            <a:r>
              <a:rPr lang="lv-LV" altLang="lv-LV"/>
              <a:t>Civilās</a:t>
            </a:r>
            <a:r>
              <a:rPr lang="en-US" altLang="lv-LV"/>
              <a:t> </a:t>
            </a:r>
            <a:r>
              <a:rPr lang="lv-LV" altLang="lv-LV"/>
              <a:t>aizsardzības jēdziens</a:t>
            </a:r>
            <a:endParaRPr lang="en-US"/>
          </a:p>
        </p:txBody>
      </p:sp>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a:p>
        </p:txBody>
      </p:sp>
      <p:sp>
        <p:nvSpPr>
          <p:cNvPr id="9" name="Rectangle 8">
            <a:extLst>
              <a:ext uri="{FF2B5EF4-FFF2-40B4-BE49-F238E27FC236}">
                <a16:creationId xmlns:a16="http://schemas.microsoft.com/office/drawing/2014/main" id="{9EF4FCF3-AAE7-DCD4-708E-807FA31A85BB}"/>
              </a:ext>
            </a:extLst>
          </p:cNvPr>
          <p:cNvSpPr/>
          <p:nvPr/>
        </p:nvSpPr>
        <p:spPr>
          <a:xfrm>
            <a:off x="8221662" y="2771484"/>
            <a:ext cx="3529013" cy="1521521"/>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en-US" sz="1600" b="1" baseline="0" err="1">
                <a:solidFill>
                  <a:schemeClr val="bg1"/>
                </a:solidFill>
                <a:latin typeface="Arial"/>
              </a:rPr>
              <a:t>lai</a:t>
            </a:r>
            <a:r>
              <a:rPr lang="en-US" sz="1600" b="1" baseline="0">
                <a:solidFill>
                  <a:schemeClr val="bg1"/>
                </a:solidFill>
                <a:latin typeface="Arial"/>
              </a:rPr>
              <a:t> </a:t>
            </a:r>
            <a:r>
              <a:rPr lang="en-US" sz="1600" b="1" baseline="0" err="1">
                <a:solidFill>
                  <a:schemeClr val="bg1"/>
                </a:solidFill>
                <a:latin typeface="Arial"/>
              </a:rPr>
              <a:t>nodrošinātu</a:t>
            </a:r>
            <a:r>
              <a:rPr lang="en-US" sz="1600" b="1" baseline="0">
                <a:solidFill>
                  <a:schemeClr val="bg1"/>
                </a:solidFill>
                <a:latin typeface="Arial"/>
              </a:rPr>
              <a:t> </a:t>
            </a:r>
            <a:r>
              <a:rPr lang="en-US" sz="1600" baseline="0" err="1">
                <a:solidFill>
                  <a:schemeClr val="bg1"/>
                </a:solidFill>
                <a:latin typeface="Arial"/>
              </a:rPr>
              <a:t>cilvēku</a:t>
            </a:r>
            <a:r>
              <a:rPr lang="en-US" sz="1600" baseline="0">
                <a:solidFill>
                  <a:schemeClr val="bg1"/>
                </a:solidFill>
                <a:latin typeface="Arial"/>
              </a:rPr>
              <a:t>, vides un </a:t>
            </a:r>
            <a:r>
              <a:rPr lang="en-US" sz="1600" baseline="0" err="1">
                <a:solidFill>
                  <a:schemeClr val="bg1"/>
                </a:solidFill>
                <a:latin typeface="Arial"/>
              </a:rPr>
              <a:t>īpašuma</a:t>
            </a:r>
            <a:r>
              <a:rPr lang="en-US" sz="1600" baseline="0">
                <a:solidFill>
                  <a:schemeClr val="bg1"/>
                </a:solidFill>
                <a:latin typeface="Arial"/>
              </a:rPr>
              <a:t> </a:t>
            </a:r>
            <a:r>
              <a:rPr lang="en-US" sz="1600" b="1" baseline="0" err="1">
                <a:solidFill>
                  <a:schemeClr val="bg1"/>
                </a:solidFill>
                <a:latin typeface="Arial"/>
              </a:rPr>
              <a:t>drošību</a:t>
            </a:r>
            <a:r>
              <a:rPr lang="en-US" sz="1600" baseline="0">
                <a:solidFill>
                  <a:schemeClr val="bg1"/>
                </a:solidFill>
                <a:latin typeface="Arial"/>
              </a:rPr>
              <a:t>,</a:t>
            </a:r>
            <a:endParaRPr lang="en-GB" sz="1600">
              <a:solidFill>
                <a:schemeClr val="bg1"/>
              </a:solidFill>
              <a:cs typeface="Arial"/>
            </a:endParaRPr>
          </a:p>
        </p:txBody>
      </p:sp>
      <p:sp>
        <p:nvSpPr>
          <p:cNvPr id="10" name="Rectangle 9">
            <a:extLst>
              <a:ext uri="{FF2B5EF4-FFF2-40B4-BE49-F238E27FC236}">
                <a16:creationId xmlns:a16="http://schemas.microsoft.com/office/drawing/2014/main" id="{94721351-C305-395B-2633-DCE5ACD20496}"/>
              </a:ext>
            </a:extLst>
          </p:cNvPr>
          <p:cNvSpPr/>
          <p:nvPr/>
        </p:nvSpPr>
        <p:spPr>
          <a:xfrm>
            <a:off x="8221662" y="4614251"/>
            <a:ext cx="3529013" cy="156242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r>
              <a:rPr lang="en-US" sz="1600" b="1" err="1">
                <a:solidFill>
                  <a:schemeClr val="bg1"/>
                </a:solidFill>
                <a:latin typeface="Arial"/>
              </a:rPr>
              <a:t>lai</a:t>
            </a:r>
            <a:r>
              <a:rPr lang="en-US" sz="1600" b="1">
                <a:solidFill>
                  <a:schemeClr val="bg1"/>
                </a:solidFill>
                <a:latin typeface="Arial"/>
              </a:rPr>
              <a:t> </a:t>
            </a:r>
            <a:r>
              <a:rPr lang="en-US" sz="1600" b="1" err="1">
                <a:solidFill>
                  <a:schemeClr val="bg1"/>
                </a:solidFill>
                <a:latin typeface="Arial"/>
              </a:rPr>
              <a:t>īstenotu</a:t>
            </a:r>
            <a:r>
              <a:rPr lang="en-US" sz="1600" b="1">
                <a:solidFill>
                  <a:schemeClr val="bg1"/>
                </a:solidFill>
                <a:latin typeface="Arial"/>
              </a:rPr>
              <a:t> </a:t>
            </a:r>
            <a:r>
              <a:rPr lang="en-US" sz="1600" err="1">
                <a:solidFill>
                  <a:schemeClr val="bg1"/>
                </a:solidFill>
                <a:latin typeface="Arial"/>
              </a:rPr>
              <a:t>atbilstošu</a:t>
            </a:r>
            <a:r>
              <a:rPr lang="en-US" sz="1600">
                <a:solidFill>
                  <a:schemeClr val="bg1"/>
                </a:solidFill>
                <a:latin typeface="Arial"/>
              </a:rPr>
              <a:t> </a:t>
            </a:r>
          </a:p>
          <a:p>
            <a:r>
              <a:rPr lang="en-US" sz="1600" b="1" err="1">
                <a:solidFill>
                  <a:schemeClr val="bg1"/>
                </a:solidFill>
                <a:latin typeface="Arial"/>
              </a:rPr>
              <a:t>rīcību</a:t>
            </a:r>
            <a:r>
              <a:rPr lang="en-US" sz="1600">
                <a:solidFill>
                  <a:schemeClr val="bg1"/>
                </a:solidFill>
                <a:latin typeface="Arial"/>
              </a:rPr>
              <a:t> </a:t>
            </a:r>
            <a:r>
              <a:rPr lang="en-US" sz="1600" err="1">
                <a:solidFill>
                  <a:schemeClr val="bg1"/>
                </a:solidFill>
                <a:latin typeface="Arial"/>
              </a:rPr>
              <a:t>katastrofas</a:t>
            </a:r>
            <a:r>
              <a:rPr lang="en-US" sz="1600">
                <a:solidFill>
                  <a:schemeClr val="bg1"/>
                </a:solidFill>
                <a:latin typeface="Arial"/>
              </a:rPr>
              <a:t> </a:t>
            </a:r>
            <a:r>
              <a:rPr lang="en-US" sz="1600" baseline="0">
                <a:solidFill>
                  <a:schemeClr val="bg1"/>
                </a:solidFill>
                <a:latin typeface="Arial"/>
              </a:rPr>
              <a:t>un </a:t>
            </a:r>
            <a:endParaRPr lang="en-US" sz="1600">
              <a:solidFill>
                <a:schemeClr val="bg1"/>
              </a:solidFill>
              <a:latin typeface="Arial"/>
              <a:cs typeface="Arial"/>
            </a:endParaRPr>
          </a:p>
          <a:p>
            <a:r>
              <a:rPr lang="en-US" sz="1600" err="1">
                <a:solidFill>
                  <a:schemeClr val="bg1"/>
                </a:solidFill>
                <a:latin typeface="Arial"/>
              </a:rPr>
              <a:t>katastrofas</a:t>
            </a:r>
            <a:r>
              <a:rPr lang="en-US" sz="1600">
                <a:solidFill>
                  <a:schemeClr val="bg1"/>
                </a:solidFill>
                <a:latin typeface="Arial"/>
              </a:rPr>
              <a:t> </a:t>
            </a:r>
            <a:r>
              <a:rPr lang="en-US" sz="1600" err="1">
                <a:solidFill>
                  <a:schemeClr val="bg1"/>
                </a:solidFill>
                <a:latin typeface="Arial"/>
              </a:rPr>
              <a:t>draudu</a:t>
            </a:r>
            <a:r>
              <a:rPr lang="en-US" sz="1600">
                <a:solidFill>
                  <a:schemeClr val="bg1"/>
                </a:solidFill>
                <a:latin typeface="Arial"/>
              </a:rPr>
              <a:t> </a:t>
            </a:r>
            <a:endParaRPr lang="en-US" sz="1600">
              <a:solidFill>
                <a:schemeClr val="bg1"/>
              </a:solidFill>
              <a:latin typeface="Arial"/>
              <a:cs typeface="Arial"/>
            </a:endParaRPr>
          </a:p>
          <a:p>
            <a:r>
              <a:rPr lang="en-US" sz="1600" err="1">
                <a:solidFill>
                  <a:schemeClr val="bg1"/>
                </a:solidFill>
                <a:latin typeface="Arial"/>
              </a:rPr>
              <a:t>gadījumā</a:t>
            </a:r>
            <a:endParaRPr lang="en-US" sz="1600" err="1">
              <a:solidFill>
                <a:schemeClr val="bg1"/>
              </a:solidFill>
              <a:cs typeface="Arial"/>
            </a:endParaRPr>
          </a:p>
        </p:txBody>
      </p:sp>
      <p:sp>
        <p:nvSpPr>
          <p:cNvPr id="29" name="Rectangle 28">
            <a:extLst>
              <a:ext uri="{FF2B5EF4-FFF2-40B4-BE49-F238E27FC236}">
                <a16:creationId xmlns:a16="http://schemas.microsoft.com/office/drawing/2014/main" id="{C742B76E-DE40-9220-F199-C2464FC808FE}"/>
              </a:ext>
            </a:extLst>
          </p:cNvPr>
          <p:cNvSpPr/>
          <p:nvPr/>
        </p:nvSpPr>
        <p:spPr>
          <a:xfrm>
            <a:off x="1138287" y="1826035"/>
            <a:ext cx="10609213"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dirty="0" err="1">
                <a:solidFill>
                  <a:schemeClr val="tx1"/>
                </a:solidFill>
                <a:cs typeface="Arial"/>
              </a:rPr>
              <a:t>Civilās</a:t>
            </a:r>
            <a:r>
              <a:rPr lang="en-US" altLang="lv-LV" sz="1600" b="1" dirty="0">
                <a:solidFill>
                  <a:schemeClr val="tx1"/>
                </a:solidFill>
                <a:cs typeface="Arial"/>
              </a:rPr>
              <a:t> </a:t>
            </a:r>
            <a:r>
              <a:rPr lang="en-US" altLang="lv-LV" sz="1600" b="1" dirty="0" err="1">
                <a:solidFill>
                  <a:schemeClr val="tx1"/>
                </a:solidFill>
                <a:cs typeface="Arial"/>
              </a:rPr>
              <a:t>aizsardzības</a:t>
            </a:r>
            <a:r>
              <a:rPr lang="en-US" altLang="lv-LV" sz="1600" b="1" dirty="0">
                <a:solidFill>
                  <a:schemeClr val="tx1"/>
                </a:solidFill>
                <a:cs typeface="Arial"/>
              </a:rPr>
              <a:t> un </a:t>
            </a:r>
            <a:r>
              <a:rPr lang="en-US" altLang="lv-LV" sz="1600" b="1" dirty="0" err="1">
                <a:solidFill>
                  <a:schemeClr val="tx1"/>
                </a:solidFill>
                <a:cs typeface="Arial"/>
              </a:rPr>
              <a:t>katastrof</a:t>
            </a:r>
            <a:r>
              <a:rPr lang="lv-LV" altLang="lv-LV" sz="1600" b="1" dirty="0" err="1">
                <a:solidFill>
                  <a:schemeClr val="tx1"/>
                </a:solidFill>
                <a:cs typeface="Arial"/>
              </a:rPr>
              <a:t>as</a:t>
            </a:r>
            <a:r>
              <a:rPr lang="en-US" altLang="lv-LV" sz="1600" b="1" dirty="0">
                <a:solidFill>
                  <a:schemeClr val="tx1"/>
                </a:solidFill>
                <a:cs typeface="Arial"/>
              </a:rPr>
              <a:t> </a:t>
            </a:r>
            <a:r>
              <a:rPr lang="en-US" altLang="lv-LV" sz="1600" b="1" dirty="0" err="1">
                <a:solidFill>
                  <a:schemeClr val="tx1"/>
                </a:solidFill>
                <a:cs typeface="Arial"/>
              </a:rPr>
              <a:t>pārvaldīšanas</a:t>
            </a:r>
            <a:r>
              <a:rPr lang="en-US" altLang="lv-LV" sz="1600" b="1" dirty="0">
                <a:solidFill>
                  <a:schemeClr val="tx1"/>
                </a:solidFill>
                <a:cs typeface="Arial"/>
              </a:rPr>
              <a:t> </a:t>
            </a:r>
            <a:r>
              <a:rPr lang="en-US" altLang="lv-LV" sz="1600" b="1" dirty="0" err="1">
                <a:solidFill>
                  <a:schemeClr val="tx1"/>
                </a:solidFill>
                <a:cs typeface="Arial"/>
              </a:rPr>
              <a:t>likum</a:t>
            </a:r>
            <a:r>
              <a:rPr lang="lv-LV" altLang="lv-LV" sz="1600" b="1" dirty="0">
                <a:solidFill>
                  <a:schemeClr val="tx1"/>
                </a:solidFill>
                <a:cs typeface="Arial"/>
              </a:rPr>
              <a:t>ā noteiktā definīcija:</a:t>
            </a:r>
            <a:endParaRPr lang="en-US" altLang="lv-LV" sz="1600" b="1" dirty="0">
              <a:solidFill>
                <a:schemeClr val="tx1"/>
              </a:solidFill>
              <a:cs typeface="Arial"/>
            </a:endParaRPr>
          </a:p>
        </p:txBody>
      </p:sp>
      <p:sp>
        <p:nvSpPr>
          <p:cNvPr id="30" name="Rectangle 29">
            <a:extLst>
              <a:ext uri="{FF2B5EF4-FFF2-40B4-BE49-F238E27FC236}">
                <a16:creationId xmlns:a16="http://schemas.microsoft.com/office/drawing/2014/main" id="{B52CF02B-8C5C-B83F-C1B7-DC759BC24CC8}"/>
              </a:ext>
            </a:extLst>
          </p:cNvPr>
          <p:cNvSpPr/>
          <p:nvPr/>
        </p:nvSpPr>
        <p:spPr>
          <a:xfrm>
            <a:off x="441325" y="1829014"/>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8" name="Rectangle 7">
            <a:extLst>
              <a:ext uri="{FF2B5EF4-FFF2-40B4-BE49-F238E27FC236}">
                <a16:creationId xmlns:a16="http://schemas.microsoft.com/office/drawing/2014/main" id="{6568269F-78B9-0540-E222-2C44BDA02E95}"/>
              </a:ext>
            </a:extLst>
          </p:cNvPr>
          <p:cNvSpPr/>
          <p:nvPr/>
        </p:nvSpPr>
        <p:spPr>
          <a:xfrm>
            <a:off x="4332287" y="2771485"/>
            <a:ext cx="3529013" cy="340518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noAutofit/>
          </a:bodyPr>
          <a:lstStyle/>
          <a:p>
            <a:r>
              <a:rPr lang="lv-LV" sz="1600" b="1">
                <a:solidFill>
                  <a:schemeClr val="tx1"/>
                </a:solidFill>
                <a:latin typeface="Arial"/>
              </a:rPr>
              <a:t>k</a:t>
            </a:r>
            <a:r>
              <a:rPr lang="en-US" sz="1600" b="1" baseline="0">
                <a:solidFill>
                  <a:schemeClr val="tx1"/>
                </a:solidFill>
                <a:latin typeface="Arial"/>
              </a:rPr>
              <a:t>urus </a:t>
            </a:r>
            <a:r>
              <a:rPr lang="en-US" sz="1600" b="1" baseline="0" err="1">
                <a:solidFill>
                  <a:schemeClr val="tx1"/>
                </a:solidFill>
                <a:latin typeface="Arial"/>
              </a:rPr>
              <a:t>īsteno</a:t>
            </a:r>
            <a:r>
              <a:rPr lang="lv-LV" sz="1600" b="1" baseline="0">
                <a:solidFill>
                  <a:schemeClr val="tx1"/>
                </a:solidFill>
                <a:latin typeface="Arial"/>
              </a:rPr>
              <a:t>:</a:t>
            </a:r>
            <a:r>
              <a:rPr lang="en-US" sz="1600" baseline="0">
                <a:solidFill>
                  <a:schemeClr val="tx1"/>
                </a:solidFill>
                <a:latin typeface="Arial"/>
              </a:rPr>
              <a:t> </a:t>
            </a:r>
            <a:endParaRPr lang="lv-LV" sz="1600" baseline="0">
              <a:solidFill>
                <a:schemeClr val="tx1"/>
              </a:solidFill>
              <a:latin typeface="Arial"/>
            </a:endParaRPr>
          </a:p>
          <a:p>
            <a:endParaRPr lang="en-GB" sz="1600">
              <a:solidFill>
                <a:schemeClr val="tx1"/>
              </a:solidFill>
              <a:latin typeface="Arial"/>
              <a:cs typeface="Arial"/>
            </a:endParaRPr>
          </a:p>
          <a:p>
            <a:pPr marL="285750" indent="-285750">
              <a:buFont typeface="Arial" panose="020B0604020202020204" pitchFamily="34" charset="0"/>
              <a:buChar char="•"/>
            </a:pPr>
            <a:r>
              <a:rPr lang="en-US" sz="1600" err="1">
                <a:solidFill>
                  <a:schemeClr val="tx1"/>
                </a:solidFill>
                <a:latin typeface="Arial"/>
              </a:rPr>
              <a:t>V</a:t>
            </a:r>
            <a:r>
              <a:rPr lang="en-US" sz="1600" baseline="0" err="1">
                <a:solidFill>
                  <a:schemeClr val="tx1"/>
                </a:solidFill>
                <a:latin typeface="Arial"/>
              </a:rPr>
              <a:t>alsts</a:t>
            </a:r>
            <a:r>
              <a:rPr lang="en-US" sz="1600">
                <a:solidFill>
                  <a:schemeClr val="tx1"/>
                </a:solidFill>
                <a:latin typeface="Arial"/>
              </a:rPr>
              <a:t> </a:t>
            </a:r>
            <a:r>
              <a:rPr lang="en-US" sz="1600" err="1">
                <a:solidFill>
                  <a:schemeClr val="tx1"/>
                </a:solidFill>
                <a:latin typeface="Arial"/>
              </a:rPr>
              <a:t>institūcijas</a:t>
            </a:r>
            <a:r>
              <a:rPr lang="en-US" sz="1600">
                <a:solidFill>
                  <a:schemeClr val="tx1"/>
                </a:solidFill>
                <a:latin typeface="Arial"/>
              </a:rPr>
              <a:t>,</a:t>
            </a:r>
            <a:endParaRPr lang="en-GB" sz="1600">
              <a:solidFill>
                <a:schemeClr val="tx1"/>
              </a:solidFill>
              <a:latin typeface="Arial"/>
            </a:endParaRPr>
          </a:p>
          <a:p>
            <a:pPr marL="285750" indent="-285750">
              <a:lnSpc>
                <a:spcPct val="100000"/>
              </a:lnSpc>
              <a:buFont typeface="Arial" panose="020B0604020202020204" pitchFamily="34" charset="0"/>
              <a:buChar char="•"/>
            </a:pPr>
            <a:r>
              <a:rPr lang="en-US" sz="1600" err="1">
                <a:solidFill>
                  <a:schemeClr val="tx1"/>
                </a:solidFill>
                <a:latin typeface="Arial"/>
              </a:rPr>
              <a:t>P</a:t>
            </a:r>
            <a:r>
              <a:rPr lang="en-US" sz="1600" baseline="0" err="1">
                <a:solidFill>
                  <a:schemeClr val="tx1"/>
                </a:solidFill>
                <a:latin typeface="Arial"/>
              </a:rPr>
              <a:t>ašvaldību</a:t>
            </a:r>
            <a:r>
              <a:rPr lang="en-US" sz="1600" baseline="0">
                <a:solidFill>
                  <a:schemeClr val="tx1"/>
                </a:solidFill>
                <a:latin typeface="Arial"/>
              </a:rPr>
              <a:t> </a:t>
            </a:r>
            <a:r>
              <a:rPr lang="en-US" sz="1600" baseline="0" err="1">
                <a:solidFill>
                  <a:schemeClr val="tx1"/>
                </a:solidFill>
                <a:latin typeface="Arial"/>
              </a:rPr>
              <a:t>institūcijas</a:t>
            </a:r>
            <a:r>
              <a:rPr lang="en-US" sz="1600" baseline="0">
                <a:solidFill>
                  <a:schemeClr val="tx1"/>
                </a:solidFill>
                <a:latin typeface="Arial"/>
              </a:rPr>
              <a:t> </a:t>
            </a:r>
            <a:endParaRPr lang="lv-LV" sz="1600" baseline="0">
              <a:solidFill>
                <a:schemeClr val="tx1"/>
              </a:solidFill>
              <a:latin typeface="Arial"/>
            </a:endParaRPr>
          </a:p>
          <a:p>
            <a:pPr marL="285750" indent="-285750">
              <a:lnSpc>
                <a:spcPct val="100000"/>
              </a:lnSpc>
              <a:buFont typeface="Arial" panose="020B0604020202020204" pitchFamily="34" charset="0"/>
              <a:buChar char="•"/>
            </a:pPr>
            <a:r>
              <a:rPr lang="lv-LV" sz="1600">
                <a:solidFill>
                  <a:schemeClr val="tx1"/>
                </a:solidFill>
                <a:latin typeface="Arial"/>
              </a:rPr>
              <a:t>S</a:t>
            </a:r>
            <a:r>
              <a:rPr lang="en-US" sz="1600" baseline="0" err="1">
                <a:solidFill>
                  <a:schemeClr val="tx1"/>
                </a:solidFill>
                <a:latin typeface="Arial"/>
              </a:rPr>
              <a:t>abiedrība</a:t>
            </a:r>
            <a:endParaRPr lang="en-GB" sz="1600">
              <a:solidFill>
                <a:schemeClr val="tx1"/>
              </a:solidFill>
              <a:cs typeface="Arial"/>
            </a:endParaRPr>
          </a:p>
        </p:txBody>
      </p:sp>
      <p:sp>
        <p:nvSpPr>
          <p:cNvPr id="39" name="Freeform 23">
            <a:extLst>
              <a:ext uri="{FF2B5EF4-FFF2-40B4-BE49-F238E27FC236}">
                <a16:creationId xmlns:a16="http://schemas.microsoft.com/office/drawing/2014/main" id="{AD3B0B1C-F282-EA52-CDE4-09C08AB02064}"/>
              </a:ext>
            </a:extLst>
          </p:cNvPr>
          <p:cNvSpPr>
            <a:spLocks noChangeAspect="1"/>
          </p:cNvSpPr>
          <p:nvPr/>
        </p:nvSpPr>
        <p:spPr bwMode="auto">
          <a:xfrm rot="10800000">
            <a:off x="4059230"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40" name="Freeform 23">
            <a:extLst>
              <a:ext uri="{FF2B5EF4-FFF2-40B4-BE49-F238E27FC236}">
                <a16:creationId xmlns:a16="http://schemas.microsoft.com/office/drawing/2014/main" id="{826AF206-BA51-C6A1-A1D2-FF76E016C2E1}"/>
              </a:ext>
            </a:extLst>
          </p:cNvPr>
          <p:cNvSpPr>
            <a:spLocks noChangeAspect="1"/>
          </p:cNvSpPr>
          <p:nvPr/>
        </p:nvSpPr>
        <p:spPr bwMode="auto">
          <a:xfrm rot="10800000">
            <a:off x="7948605" y="4340729"/>
            <a:ext cx="179402" cy="285750"/>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rgbClr val="000000"/>
          </a:solidFill>
          <a:ln>
            <a:noFill/>
          </a:ln>
        </p:spPr>
        <p:txBody>
          <a:bodyPr vert="horz" wrap="square" lIns="78191" tIns="39096" rIns="78191" bIns="39096" numCol="1" anchor="t" anchorCtr="0" compatLnSpc="1">
            <a:prstTxWarp prst="textNoShape">
              <a:avLst/>
            </a:prstTxWarp>
          </a:bodyPr>
          <a:lstStyle/>
          <a:p>
            <a:endParaRPr lang="en-US" sz="800"/>
          </a:p>
        </p:txBody>
      </p:sp>
      <p:sp>
        <p:nvSpPr>
          <p:cNvPr id="18" name="Rectangle 17">
            <a:extLst>
              <a:ext uri="{FF2B5EF4-FFF2-40B4-BE49-F238E27FC236}">
                <a16:creationId xmlns:a16="http://schemas.microsoft.com/office/drawing/2014/main" id="{464852E7-1185-313C-5E8C-99297BDE237F}"/>
              </a:ext>
            </a:extLst>
          </p:cNvPr>
          <p:cNvSpPr/>
          <p:nvPr/>
        </p:nvSpPr>
        <p:spPr>
          <a:xfrm>
            <a:off x="877887" y="320890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baseline="0" err="1">
                <a:solidFill>
                  <a:schemeClr val="tx1"/>
                </a:solidFill>
                <a:latin typeface="Arial"/>
              </a:rPr>
              <a:t>Organizatorisku</a:t>
            </a:r>
            <a:r>
              <a:rPr lang="en-US" sz="1600" baseline="0">
                <a:solidFill>
                  <a:schemeClr val="tx1"/>
                </a:solidFill>
                <a:latin typeface="Arial"/>
              </a:rPr>
              <a:t> </a:t>
            </a:r>
            <a:endParaRPr lang="en-GB" sz="1600">
              <a:solidFill>
                <a:schemeClr val="tx1"/>
              </a:solidFill>
              <a:latin typeface="Arial"/>
              <a:cs typeface="Arial"/>
            </a:endParaRPr>
          </a:p>
        </p:txBody>
      </p:sp>
      <p:sp>
        <p:nvSpPr>
          <p:cNvPr id="19" name="Rectangle 18">
            <a:extLst>
              <a:ext uri="{FF2B5EF4-FFF2-40B4-BE49-F238E27FC236}">
                <a16:creationId xmlns:a16="http://schemas.microsoft.com/office/drawing/2014/main" id="{7EB662CE-B404-81CE-57BD-AC2566378AC3}"/>
              </a:ext>
            </a:extLst>
          </p:cNvPr>
          <p:cNvSpPr/>
          <p:nvPr/>
        </p:nvSpPr>
        <p:spPr>
          <a:xfrm>
            <a:off x="877414" y="3646332"/>
            <a:ext cx="3094511"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I</a:t>
            </a:r>
            <a:r>
              <a:rPr lang="en-US" sz="1600" baseline="0" err="1">
                <a:solidFill>
                  <a:schemeClr val="tx1"/>
                </a:solidFill>
                <a:latin typeface="Arial"/>
              </a:rPr>
              <a:t>nženiertehnisku</a:t>
            </a:r>
            <a:r>
              <a:rPr lang="en-US" sz="1600" baseline="0">
                <a:solidFill>
                  <a:schemeClr val="tx1"/>
                </a:solidFill>
                <a:latin typeface="Arial"/>
              </a:rPr>
              <a:t> </a:t>
            </a:r>
            <a:endParaRPr lang="en-GB" sz="1600">
              <a:solidFill>
                <a:schemeClr val="tx1"/>
              </a:solidFill>
              <a:latin typeface="Arial"/>
            </a:endParaRPr>
          </a:p>
        </p:txBody>
      </p:sp>
      <p:sp>
        <p:nvSpPr>
          <p:cNvPr id="21" name="Rectangle 20">
            <a:extLst>
              <a:ext uri="{FF2B5EF4-FFF2-40B4-BE49-F238E27FC236}">
                <a16:creationId xmlns:a16="http://schemas.microsoft.com/office/drawing/2014/main" id="{A7C4DF3F-67EF-C043-A84D-4FC5237ACEE1}"/>
              </a:ext>
            </a:extLst>
          </p:cNvPr>
          <p:cNvSpPr/>
          <p:nvPr/>
        </p:nvSpPr>
        <p:spPr>
          <a:xfrm>
            <a:off x="877887" y="4083756"/>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E</a:t>
            </a:r>
            <a:r>
              <a:rPr lang="en-US" sz="1600" baseline="0" err="1">
                <a:solidFill>
                  <a:schemeClr val="tx1"/>
                </a:solidFill>
                <a:latin typeface="Arial"/>
              </a:rPr>
              <a:t>konomisku</a:t>
            </a:r>
            <a:r>
              <a:rPr lang="en-US" sz="1600" baseline="0">
                <a:solidFill>
                  <a:schemeClr val="tx1"/>
                </a:solidFill>
                <a:latin typeface="Arial"/>
              </a:rPr>
              <a:t> </a:t>
            </a:r>
            <a:endParaRPr lang="en-GB" sz="1600">
              <a:solidFill>
                <a:schemeClr val="tx1"/>
              </a:solidFill>
              <a:latin typeface="Arial"/>
              <a:cs typeface="Arial"/>
            </a:endParaRPr>
          </a:p>
        </p:txBody>
      </p:sp>
      <p:sp>
        <p:nvSpPr>
          <p:cNvPr id="22" name="Rectangle 21">
            <a:extLst>
              <a:ext uri="{FF2B5EF4-FFF2-40B4-BE49-F238E27FC236}">
                <a16:creationId xmlns:a16="http://schemas.microsoft.com/office/drawing/2014/main" id="{FE89DCE4-E070-4A40-7E2B-291A68992434}"/>
              </a:ext>
            </a:extLst>
          </p:cNvPr>
          <p:cNvSpPr/>
          <p:nvPr/>
        </p:nvSpPr>
        <p:spPr>
          <a:xfrm>
            <a:off x="877887" y="4521180"/>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F</a:t>
            </a:r>
            <a:r>
              <a:rPr lang="en-US" sz="1600" baseline="0" err="1">
                <a:solidFill>
                  <a:schemeClr val="tx1"/>
                </a:solidFill>
                <a:latin typeface="Arial"/>
              </a:rPr>
              <a:t>inansiālu</a:t>
            </a:r>
            <a:r>
              <a:rPr lang="en-US" sz="1600" baseline="0">
                <a:solidFill>
                  <a:schemeClr val="tx1"/>
                </a:solidFill>
                <a:latin typeface="Arial"/>
              </a:rPr>
              <a:t> </a:t>
            </a:r>
            <a:endParaRPr lang="en-GB" sz="1600">
              <a:solidFill>
                <a:schemeClr val="tx1"/>
              </a:solidFill>
              <a:latin typeface="Arial"/>
              <a:cs typeface="Arial"/>
            </a:endParaRPr>
          </a:p>
        </p:txBody>
      </p:sp>
      <p:sp>
        <p:nvSpPr>
          <p:cNvPr id="23" name="Rectangle 22">
            <a:extLst>
              <a:ext uri="{FF2B5EF4-FFF2-40B4-BE49-F238E27FC236}">
                <a16:creationId xmlns:a16="http://schemas.microsoft.com/office/drawing/2014/main" id="{F152AFFD-0EE8-DEFF-AFCE-6ABF19FAB772}"/>
              </a:ext>
            </a:extLst>
          </p:cNvPr>
          <p:cNvSpPr/>
          <p:nvPr/>
        </p:nvSpPr>
        <p:spPr>
          <a:xfrm>
            <a:off x="877887" y="4958604"/>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S</a:t>
            </a:r>
            <a:r>
              <a:rPr lang="en-US" sz="1600" baseline="0" err="1">
                <a:solidFill>
                  <a:schemeClr val="tx1"/>
                </a:solidFill>
                <a:latin typeface="Arial"/>
              </a:rPr>
              <a:t>ociālu</a:t>
            </a:r>
            <a:endParaRPr lang="en-GB" sz="1600">
              <a:solidFill>
                <a:schemeClr val="tx1"/>
              </a:solidFill>
              <a:latin typeface="Arial"/>
              <a:cs typeface="Arial"/>
            </a:endParaRPr>
          </a:p>
        </p:txBody>
      </p:sp>
      <p:sp>
        <p:nvSpPr>
          <p:cNvPr id="24" name="Rectangle 23">
            <a:extLst>
              <a:ext uri="{FF2B5EF4-FFF2-40B4-BE49-F238E27FC236}">
                <a16:creationId xmlns:a16="http://schemas.microsoft.com/office/drawing/2014/main" id="{B8DEE5E6-495D-43AF-B50A-0C0F09EB77F6}"/>
              </a:ext>
            </a:extLst>
          </p:cNvPr>
          <p:cNvSpPr/>
          <p:nvPr/>
        </p:nvSpPr>
        <p:spPr>
          <a:xfrm>
            <a:off x="877887" y="5396028"/>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Izglītojošu</a:t>
            </a:r>
            <a:endParaRPr lang="en-GB" sz="1600">
              <a:solidFill>
                <a:schemeClr val="tx1"/>
              </a:solidFill>
              <a:latin typeface="Arial"/>
            </a:endParaRPr>
          </a:p>
        </p:txBody>
      </p:sp>
      <p:sp>
        <p:nvSpPr>
          <p:cNvPr id="25" name="Rectangle 24">
            <a:extLst>
              <a:ext uri="{FF2B5EF4-FFF2-40B4-BE49-F238E27FC236}">
                <a16:creationId xmlns:a16="http://schemas.microsoft.com/office/drawing/2014/main" id="{7B9C612A-02A6-C69A-45BD-F63E4FEBF938}"/>
              </a:ext>
            </a:extLst>
          </p:cNvPr>
          <p:cNvSpPr/>
          <p:nvPr/>
        </p:nvSpPr>
        <p:spPr>
          <a:xfrm>
            <a:off x="877887" y="5833452"/>
            <a:ext cx="3094038" cy="34322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err="1">
                <a:solidFill>
                  <a:schemeClr val="tx1"/>
                </a:solidFill>
                <a:latin typeface="Arial"/>
              </a:rPr>
              <a:t>Z</a:t>
            </a:r>
            <a:r>
              <a:rPr lang="en-US" sz="1600" baseline="0" err="1">
                <a:solidFill>
                  <a:schemeClr val="tx1"/>
                </a:solidFill>
                <a:latin typeface="Arial"/>
              </a:rPr>
              <a:t>inātnisku</a:t>
            </a:r>
            <a:r>
              <a:rPr lang="en-US" sz="1600" baseline="0">
                <a:solidFill>
                  <a:schemeClr val="tx1"/>
                </a:solidFill>
                <a:latin typeface="Arial"/>
              </a:rPr>
              <a:t> </a:t>
            </a:r>
            <a:endParaRPr lang="en-GB" sz="1600">
              <a:solidFill>
                <a:schemeClr val="tx1"/>
              </a:solidFill>
              <a:latin typeface="Arial"/>
              <a:cs typeface="Arial"/>
            </a:endParaRPr>
          </a:p>
        </p:txBody>
      </p:sp>
      <p:sp>
        <p:nvSpPr>
          <p:cNvPr id="27" name="Rectangle 26">
            <a:extLst>
              <a:ext uri="{FF2B5EF4-FFF2-40B4-BE49-F238E27FC236}">
                <a16:creationId xmlns:a16="http://schemas.microsoft.com/office/drawing/2014/main" id="{254FFA63-04BA-2D79-2626-49559B39DC43}"/>
              </a:ext>
            </a:extLst>
          </p:cNvPr>
          <p:cNvSpPr/>
          <p:nvPr/>
        </p:nvSpPr>
        <p:spPr>
          <a:xfrm>
            <a:off x="442914" y="3647057"/>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2" name="Rectangle 31">
            <a:extLst>
              <a:ext uri="{FF2B5EF4-FFF2-40B4-BE49-F238E27FC236}">
                <a16:creationId xmlns:a16="http://schemas.microsoft.com/office/drawing/2014/main" id="{808BEC75-014B-E078-A787-5D03187CF131}"/>
              </a:ext>
            </a:extLst>
          </p:cNvPr>
          <p:cNvSpPr/>
          <p:nvPr/>
        </p:nvSpPr>
        <p:spPr>
          <a:xfrm>
            <a:off x="442914" y="3208908"/>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3" name="Rectangle 32">
            <a:extLst>
              <a:ext uri="{FF2B5EF4-FFF2-40B4-BE49-F238E27FC236}">
                <a16:creationId xmlns:a16="http://schemas.microsoft.com/office/drawing/2014/main" id="{FC052C20-018D-0C59-775E-0C9416037BB7}"/>
              </a:ext>
            </a:extLst>
          </p:cNvPr>
          <p:cNvSpPr/>
          <p:nvPr/>
        </p:nvSpPr>
        <p:spPr>
          <a:xfrm>
            <a:off x="442914" y="4084076"/>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5" name="Rectangle 34">
            <a:extLst>
              <a:ext uri="{FF2B5EF4-FFF2-40B4-BE49-F238E27FC236}">
                <a16:creationId xmlns:a16="http://schemas.microsoft.com/office/drawing/2014/main" id="{2603A3E8-A483-A76F-40C9-7E14DFF680A4}"/>
              </a:ext>
            </a:extLst>
          </p:cNvPr>
          <p:cNvSpPr/>
          <p:nvPr/>
        </p:nvSpPr>
        <p:spPr>
          <a:xfrm>
            <a:off x="442914" y="4521500"/>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7" name="Rectangle 36">
            <a:extLst>
              <a:ext uri="{FF2B5EF4-FFF2-40B4-BE49-F238E27FC236}">
                <a16:creationId xmlns:a16="http://schemas.microsoft.com/office/drawing/2014/main" id="{C7D98177-31DE-777D-679D-160088216971}"/>
              </a:ext>
            </a:extLst>
          </p:cNvPr>
          <p:cNvSpPr/>
          <p:nvPr/>
        </p:nvSpPr>
        <p:spPr>
          <a:xfrm>
            <a:off x="442914" y="4958924"/>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38" name="Rectangle 37">
            <a:extLst>
              <a:ext uri="{FF2B5EF4-FFF2-40B4-BE49-F238E27FC236}">
                <a16:creationId xmlns:a16="http://schemas.microsoft.com/office/drawing/2014/main" id="{84C4F223-0014-E0D5-A73A-107D997D17D9}"/>
              </a:ext>
            </a:extLst>
          </p:cNvPr>
          <p:cNvSpPr/>
          <p:nvPr/>
        </p:nvSpPr>
        <p:spPr>
          <a:xfrm>
            <a:off x="442914" y="5396348"/>
            <a:ext cx="342000" cy="34290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1" name="Rectangle 40">
            <a:extLst>
              <a:ext uri="{FF2B5EF4-FFF2-40B4-BE49-F238E27FC236}">
                <a16:creationId xmlns:a16="http://schemas.microsoft.com/office/drawing/2014/main" id="{235D9D39-F405-BE10-A67E-569176E2183C}"/>
              </a:ext>
            </a:extLst>
          </p:cNvPr>
          <p:cNvSpPr/>
          <p:nvPr/>
        </p:nvSpPr>
        <p:spPr>
          <a:xfrm>
            <a:off x="442914" y="5833772"/>
            <a:ext cx="342000" cy="3429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3" name="Freeform 57">
            <a:extLst>
              <a:ext uri="{FF2B5EF4-FFF2-40B4-BE49-F238E27FC236}">
                <a16:creationId xmlns:a16="http://schemas.microsoft.com/office/drawing/2014/main" id="{60455C45-D3FE-7C41-93B5-1307B9C8CC66}"/>
              </a:ext>
            </a:extLst>
          </p:cNvPr>
          <p:cNvSpPr>
            <a:spLocks noChangeAspect="1" noEditPoints="1"/>
          </p:cNvSpPr>
          <p:nvPr/>
        </p:nvSpPr>
        <p:spPr bwMode="auto">
          <a:xfrm>
            <a:off x="484504" y="3250581"/>
            <a:ext cx="258820" cy="259555"/>
          </a:xfrm>
          <a:custGeom>
            <a:avLst/>
            <a:gdLst>
              <a:gd name="T0" fmla="*/ 704 w 704"/>
              <a:gd name="T1" fmla="*/ 706 h 706"/>
              <a:gd name="T2" fmla="*/ 673 w 704"/>
              <a:gd name="T3" fmla="*/ 677 h 706"/>
              <a:gd name="T4" fmla="*/ 673 w 704"/>
              <a:gd name="T5" fmla="*/ 31 h 706"/>
              <a:gd name="T6" fmla="*/ 595 w 704"/>
              <a:gd name="T7" fmla="*/ 589 h 706"/>
              <a:gd name="T8" fmla="*/ 598 w 704"/>
              <a:gd name="T9" fmla="*/ 558 h 706"/>
              <a:gd name="T10" fmla="*/ 626 w 704"/>
              <a:gd name="T11" fmla="*/ 589 h 706"/>
              <a:gd name="T12" fmla="*/ 587 w 704"/>
              <a:gd name="T13" fmla="*/ 589 h 706"/>
              <a:gd name="T14" fmla="*/ 532 w 704"/>
              <a:gd name="T15" fmla="*/ 558 h 706"/>
              <a:gd name="T16" fmla="*/ 532 w 704"/>
              <a:gd name="T17" fmla="*/ 589 h 706"/>
              <a:gd name="T18" fmla="*/ 492 w 704"/>
              <a:gd name="T19" fmla="*/ 589 h 706"/>
              <a:gd name="T20" fmla="*/ 521 w 704"/>
              <a:gd name="T21" fmla="*/ 558 h 706"/>
              <a:gd name="T22" fmla="*/ 522 w 704"/>
              <a:gd name="T23" fmla="*/ 589 h 706"/>
              <a:gd name="T24" fmla="*/ 492 w 704"/>
              <a:gd name="T25" fmla="*/ 527 h 706"/>
              <a:gd name="T26" fmla="*/ 522 w 704"/>
              <a:gd name="T27" fmla="*/ 516 h 706"/>
              <a:gd name="T28" fmla="*/ 522 w 704"/>
              <a:gd name="T29" fmla="*/ 494 h 706"/>
              <a:gd name="T30" fmla="*/ 492 w 704"/>
              <a:gd name="T31" fmla="*/ 484 h 706"/>
              <a:gd name="T32" fmla="*/ 522 w 704"/>
              <a:gd name="T33" fmla="*/ 470 h 706"/>
              <a:gd name="T34" fmla="*/ 507 w 704"/>
              <a:gd name="T35" fmla="*/ 484 h 706"/>
              <a:gd name="T36" fmla="*/ 532 w 704"/>
              <a:gd name="T37" fmla="*/ 455 h 706"/>
              <a:gd name="T38" fmla="*/ 565 w 704"/>
              <a:gd name="T39" fmla="*/ 455 h 706"/>
              <a:gd name="T40" fmla="*/ 565 w 704"/>
              <a:gd name="T41" fmla="*/ 484 h 706"/>
              <a:gd name="T42" fmla="*/ 595 w 704"/>
              <a:gd name="T43" fmla="*/ 484 h 706"/>
              <a:gd name="T44" fmla="*/ 595 w 704"/>
              <a:gd name="T45" fmla="*/ 455 h 706"/>
              <a:gd name="T46" fmla="*/ 611 w 704"/>
              <a:gd name="T47" fmla="*/ 484 h 706"/>
              <a:gd name="T48" fmla="*/ 595 w 704"/>
              <a:gd name="T49" fmla="*/ 494 h 706"/>
              <a:gd name="T50" fmla="*/ 626 w 704"/>
              <a:gd name="T51" fmla="*/ 549 h 706"/>
              <a:gd name="T52" fmla="*/ 626 w 704"/>
              <a:gd name="T53" fmla="*/ 527 h 706"/>
              <a:gd name="T54" fmla="*/ 160 w 704"/>
              <a:gd name="T55" fmla="*/ 455 h 706"/>
              <a:gd name="T56" fmla="*/ 336 w 704"/>
              <a:gd name="T57" fmla="*/ 455 h 706"/>
              <a:gd name="T58" fmla="*/ 419 w 704"/>
              <a:gd name="T59" fmla="*/ 589 h 706"/>
              <a:gd name="T60" fmla="*/ 367 w 704"/>
              <a:gd name="T61" fmla="*/ 253 h 706"/>
              <a:gd name="T62" fmla="*/ 285 w 704"/>
              <a:gd name="T63" fmla="*/ 119 h 706"/>
              <a:gd name="T64" fmla="*/ 336 w 704"/>
              <a:gd name="T65" fmla="*/ 339 h 706"/>
              <a:gd name="T66" fmla="*/ 77 w 704"/>
              <a:gd name="T67" fmla="*/ 455 h 706"/>
              <a:gd name="T68" fmla="*/ 211 w 704"/>
              <a:gd name="T69" fmla="*/ 455 h 706"/>
              <a:gd name="T70" fmla="*/ 315 w 704"/>
              <a:gd name="T71" fmla="*/ 484 h 706"/>
              <a:gd name="T72" fmla="*/ 315 w 704"/>
              <a:gd name="T73" fmla="*/ 149 h 706"/>
              <a:gd name="T74" fmla="*/ 315 w 704"/>
              <a:gd name="T75" fmla="*/ 222 h 706"/>
              <a:gd name="T76" fmla="*/ 107 w 704"/>
              <a:gd name="T77" fmla="*/ 558 h 706"/>
              <a:gd name="T78" fmla="*/ 181 w 704"/>
              <a:gd name="T79" fmla="*/ 558 h 706"/>
              <a:gd name="T80" fmla="*/ 407 w 704"/>
              <a:gd name="T81" fmla="*/ 339 h 706"/>
              <a:gd name="T82" fmla="*/ 448 w 704"/>
              <a:gd name="T83" fmla="*/ 369 h 706"/>
              <a:gd name="T84" fmla="*/ 448 w 704"/>
              <a:gd name="T85" fmla="*/ 339 h 706"/>
              <a:gd name="T86" fmla="*/ 462 w 704"/>
              <a:gd name="T87" fmla="*/ 369 h 706"/>
              <a:gd name="T88" fmla="*/ 490 w 704"/>
              <a:gd name="T89" fmla="*/ 369 h 706"/>
              <a:gd name="T90" fmla="*/ 503 w 704"/>
              <a:gd name="T91" fmla="*/ 339 h 706"/>
              <a:gd name="T92" fmla="*/ 574 w 704"/>
              <a:gd name="T93" fmla="*/ 369 h 706"/>
              <a:gd name="T94" fmla="*/ 574 w 704"/>
              <a:gd name="T95" fmla="*/ 339 h 706"/>
              <a:gd name="T96" fmla="*/ 544 w 704"/>
              <a:gd name="T97" fmla="*/ 406 h 706"/>
              <a:gd name="T98" fmla="*/ 574 w 704"/>
              <a:gd name="T99" fmla="*/ 406 h 706"/>
              <a:gd name="T100" fmla="*/ 544 w 704"/>
              <a:gd name="T101" fmla="*/ 41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706">
                <a:moveTo>
                  <a:pt x="0" y="0"/>
                </a:moveTo>
                <a:lnTo>
                  <a:pt x="0" y="706"/>
                </a:lnTo>
                <a:lnTo>
                  <a:pt x="704" y="706"/>
                </a:lnTo>
                <a:lnTo>
                  <a:pt x="704" y="0"/>
                </a:lnTo>
                <a:lnTo>
                  <a:pt x="0" y="0"/>
                </a:lnTo>
                <a:close/>
                <a:moveTo>
                  <a:pt x="673" y="677"/>
                </a:moveTo>
                <a:lnTo>
                  <a:pt x="30" y="677"/>
                </a:lnTo>
                <a:lnTo>
                  <a:pt x="30" y="31"/>
                </a:lnTo>
                <a:lnTo>
                  <a:pt x="673" y="31"/>
                </a:lnTo>
                <a:lnTo>
                  <a:pt x="673" y="677"/>
                </a:lnTo>
                <a:close/>
                <a:moveTo>
                  <a:pt x="626" y="589"/>
                </a:moveTo>
                <a:lnTo>
                  <a:pt x="595" y="589"/>
                </a:lnTo>
                <a:lnTo>
                  <a:pt x="595" y="574"/>
                </a:lnTo>
                <a:lnTo>
                  <a:pt x="595" y="558"/>
                </a:lnTo>
                <a:lnTo>
                  <a:pt x="598" y="558"/>
                </a:lnTo>
                <a:lnTo>
                  <a:pt x="611" y="558"/>
                </a:lnTo>
                <a:lnTo>
                  <a:pt x="626" y="558"/>
                </a:lnTo>
                <a:lnTo>
                  <a:pt x="626" y="589"/>
                </a:lnTo>
                <a:close/>
                <a:moveTo>
                  <a:pt x="565" y="558"/>
                </a:moveTo>
                <a:lnTo>
                  <a:pt x="587" y="558"/>
                </a:lnTo>
                <a:lnTo>
                  <a:pt x="587" y="589"/>
                </a:lnTo>
                <a:lnTo>
                  <a:pt x="565" y="589"/>
                </a:lnTo>
                <a:lnTo>
                  <a:pt x="565" y="558"/>
                </a:lnTo>
                <a:close/>
                <a:moveTo>
                  <a:pt x="532" y="558"/>
                </a:moveTo>
                <a:lnTo>
                  <a:pt x="554" y="558"/>
                </a:lnTo>
                <a:lnTo>
                  <a:pt x="554" y="589"/>
                </a:lnTo>
                <a:lnTo>
                  <a:pt x="532" y="589"/>
                </a:lnTo>
                <a:lnTo>
                  <a:pt x="532" y="558"/>
                </a:lnTo>
                <a:close/>
                <a:moveTo>
                  <a:pt x="522" y="589"/>
                </a:moveTo>
                <a:lnTo>
                  <a:pt x="492" y="589"/>
                </a:lnTo>
                <a:lnTo>
                  <a:pt x="492" y="558"/>
                </a:lnTo>
                <a:lnTo>
                  <a:pt x="507" y="558"/>
                </a:lnTo>
                <a:lnTo>
                  <a:pt x="521" y="558"/>
                </a:lnTo>
                <a:lnTo>
                  <a:pt x="522" y="558"/>
                </a:lnTo>
                <a:lnTo>
                  <a:pt x="522" y="574"/>
                </a:lnTo>
                <a:lnTo>
                  <a:pt x="522" y="589"/>
                </a:lnTo>
                <a:close/>
                <a:moveTo>
                  <a:pt x="522" y="549"/>
                </a:moveTo>
                <a:lnTo>
                  <a:pt x="492" y="549"/>
                </a:lnTo>
                <a:lnTo>
                  <a:pt x="492" y="527"/>
                </a:lnTo>
                <a:lnTo>
                  <a:pt x="522" y="527"/>
                </a:lnTo>
                <a:lnTo>
                  <a:pt x="522" y="549"/>
                </a:lnTo>
                <a:close/>
                <a:moveTo>
                  <a:pt x="522" y="516"/>
                </a:moveTo>
                <a:lnTo>
                  <a:pt x="492" y="516"/>
                </a:lnTo>
                <a:lnTo>
                  <a:pt x="492" y="494"/>
                </a:lnTo>
                <a:lnTo>
                  <a:pt x="522" y="494"/>
                </a:lnTo>
                <a:lnTo>
                  <a:pt x="522" y="516"/>
                </a:lnTo>
                <a:close/>
                <a:moveTo>
                  <a:pt x="507" y="484"/>
                </a:moveTo>
                <a:lnTo>
                  <a:pt x="492" y="484"/>
                </a:lnTo>
                <a:lnTo>
                  <a:pt x="492" y="455"/>
                </a:lnTo>
                <a:lnTo>
                  <a:pt x="522" y="455"/>
                </a:lnTo>
                <a:lnTo>
                  <a:pt x="522" y="470"/>
                </a:lnTo>
                <a:lnTo>
                  <a:pt x="522" y="483"/>
                </a:lnTo>
                <a:lnTo>
                  <a:pt x="522" y="484"/>
                </a:lnTo>
                <a:lnTo>
                  <a:pt x="507" y="484"/>
                </a:lnTo>
                <a:close/>
                <a:moveTo>
                  <a:pt x="554" y="484"/>
                </a:moveTo>
                <a:lnTo>
                  <a:pt x="532" y="484"/>
                </a:lnTo>
                <a:lnTo>
                  <a:pt x="532" y="455"/>
                </a:lnTo>
                <a:lnTo>
                  <a:pt x="554" y="455"/>
                </a:lnTo>
                <a:lnTo>
                  <a:pt x="554" y="484"/>
                </a:lnTo>
                <a:close/>
                <a:moveTo>
                  <a:pt x="565" y="455"/>
                </a:moveTo>
                <a:lnTo>
                  <a:pt x="587" y="455"/>
                </a:lnTo>
                <a:lnTo>
                  <a:pt x="587" y="484"/>
                </a:lnTo>
                <a:lnTo>
                  <a:pt x="565" y="484"/>
                </a:lnTo>
                <a:lnTo>
                  <a:pt x="565" y="455"/>
                </a:lnTo>
                <a:close/>
                <a:moveTo>
                  <a:pt x="611" y="484"/>
                </a:moveTo>
                <a:lnTo>
                  <a:pt x="595" y="484"/>
                </a:lnTo>
                <a:lnTo>
                  <a:pt x="595" y="483"/>
                </a:lnTo>
                <a:lnTo>
                  <a:pt x="595" y="470"/>
                </a:lnTo>
                <a:lnTo>
                  <a:pt x="595" y="455"/>
                </a:lnTo>
                <a:lnTo>
                  <a:pt x="626" y="455"/>
                </a:lnTo>
                <a:lnTo>
                  <a:pt x="626" y="484"/>
                </a:lnTo>
                <a:lnTo>
                  <a:pt x="611" y="484"/>
                </a:lnTo>
                <a:close/>
                <a:moveTo>
                  <a:pt x="626" y="516"/>
                </a:moveTo>
                <a:lnTo>
                  <a:pt x="595" y="516"/>
                </a:lnTo>
                <a:lnTo>
                  <a:pt x="595" y="494"/>
                </a:lnTo>
                <a:lnTo>
                  <a:pt x="626" y="494"/>
                </a:lnTo>
                <a:lnTo>
                  <a:pt x="626" y="516"/>
                </a:lnTo>
                <a:close/>
                <a:moveTo>
                  <a:pt x="626" y="549"/>
                </a:moveTo>
                <a:lnTo>
                  <a:pt x="595" y="549"/>
                </a:lnTo>
                <a:lnTo>
                  <a:pt x="595" y="527"/>
                </a:lnTo>
                <a:lnTo>
                  <a:pt x="626" y="527"/>
                </a:lnTo>
                <a:lnTo>
                  <a:pt x="626" y="549"/>
                </a:lnTo>
                <a:close/>
                <a:moveTo>
                  <a:pt x="211" y="455"/>
                </a:moveTo>
                <a:lnTo>
                  <a:pt x="160" y="455"/>
                </a:lnTo>
                <a:lnTo>
                  <a:pt x="160" y="369"/>
                </a:lnTo>
                <a:lnTo>
                  <a:pt x="336" y="369"/>
                </a:lnTo>
                <a:lnTo>
                  <a:pt x="336" y="455"/>
                </a:lnTo>
                <a:lnTo>
                  <a:pt x="285" y="455"/>
                </a:lnTo>
                <a:lnTo>
                  <a:pt x="285" y="589"/>
                </a:lnTo>
                <a:lnTo>
                  <a:pt x="419" y="589"/>
                </a:lnTo>
                <a:lnTo>
                  <a:pt x="419" y="455"/>
                </a:lnTo>
                <a:lnTo>
                  <a:pt x="367" y="455"/>
                </a:lnTo>
                <a:lnTo>
                  <a:pt x="367" y="253"/>
                </a:lnTo>
                <a:lnTo>
                  <a:pt x="419" y="253"/>
                </a:lnTo>
                <a:lnTo>
                  <a:pt x="419" y="119"/>
                </a:lnTo>
                <a:lnTo>
                  <a:pt x="285" y="119"/>
                </a:lnTo>
                <a:lnTo>
                  <a:pt x="285" y="253"/>
                </a:lnTo>
                <a:lnTo>
                  <a:pt x="336" y="253"/>
                </a:lnTo>
                <a:lnTo>
                  <a:pt x="336" y="339"/>
                </a:lnTo>
                <a:lnTo>
                  <a:pt x="129" y="339"/>
                </a:lnTo>
                <a:lnTo>
                  <a:pt x="129" y="455"/>
                </a:lnTo>
                <a:lnTo>
                  <a:pt x="77" y="455"/>
                </a:lnTo>
                <a:lnTo>
                  <a:pt x="77" y="589"/>
                </a:lnTo>
                <a:lnTo>
                  <a:pt x="211" y="589"/>
                </a:lnTo>
                <a:lnTo>
                  <a:pt x="211" y="455"/>
                </a:lnTo>
                <a:close/>
                <a:moveTo>
                  <a:pt x="389" y="558"/>
                </a:moveTo>
                <a:lnTo>
                  <a:pt x="315" y="558"/>
                </a:lnTo>
                <a:lnTo>
                  <a:pt x="315" y="484"/>
                </a:lnTo>
                <a:lnTo>
                  <a:pt x="389" y="484"/>
                </a:lnTo>
                <a:lnTo>
                  <a:pt x="389" y="558"/>
                </a:lnTo>
                <a:close/>
                <a:moveTo>
                  <a:pt x="315" y="149"/>
                </a:moveTo>
                <a:lnTo>
                  <a:pt x="389" y="149"/>
                </a:lnTo>
                <a:lnTo>
                  <a:pt x="389" y="222"/>
                </a:lnTo>
                <a:lnTo>
                  <a:pt x="315" y="222"/>
                </a:lnTo>
                <a:lnTo>
                  <a:pt x="315" y="149"/>
                </a:lnTo>
                <a:close/>
                <a:moveTo>
                  <a:pt x="181" y="558"/>
                </a:moveTo>
                <a:lnTo>
                  <a:pt x="107" y="558"/>
                </a:lnTo>
                <a:lnTo>
                  <a:pt x="107" y="484"/>
                </a:lnTo>
                <a:lnTo>
                  <a:pt x="181" y="484"/>
                </a:lnTo>
                <a:lnTo>
                  <a:pt x="181" y="558"/>
                </a:lnTo>
                <a:close/>
                <a:moveTo>
                  <a:pt x="379" y="369"/>
                </a:moveTo>
                <a:lnTo>
                  <a:pt x="379" y="339"/>
                </a:lnTo>
                <a:lnTo>
                  <a:pt x="407" y="339"/>
                </a:lnTo>
                <a:lnTo>
                  <a:pt x="407" y="369"/>
                </a:lnTo>
                <a:lnTo>
                  <a:pt x="379" y="369"/>
                </a:lnTo>
                <a:close/>
                <a:moveTo>
                  <a:pt x="448" y="369"/>
                </a:moveTo>
                <a:lnTo>
                  <a:pt x="420" y="369"/>
                </a:lnTo>
                <a:lnTo>
                  <a:pt x="420" y="339"/>
                </a:lnTo>
                <a:lnTo>
                  <a:pt x="448" y="339"/>
                </a:lnTo>
                <a:lnTo>
                  <a:pt x="448" y="369"/>
                </a:lnTo>
                <a:close/>
                <a:moveTo>
                  <a:pt x="490" y="369"/>
                </a:moveTo>
                <a:lnTo>
                  <a:pt x="462" y="369"/>
                </a:lnTo>
                <a:lnTo>
                  <a:pt x="462" y="339"/>
                </a:lnTo>
                <a:lnTo>
                  <a:pt x="490" y="339"/>
                </a:lnTo>
                <a:lnTo>
                  <a:pt x="490" y="369"/>
                </a:lnTo>
                <a:close/>
                <a:moveTo>
                  <a:pt x="532" y="369"/>
                </a:moveTo>
                <a:lnTo>
                  <a:pt x="503" y="369"/>
                </a:lnTo>
                <a:lnTo>
                  <a:pt x="503" y="339"/>
                </a:lnTo>
                <a:lnTo>
                  <a:pt x="532" y="339"/>
                </a:lnTo>
                <a:lnTo>
                  <a:pt x="532" y="369"/>
                </a:lnTo>
                <a:close/>
                <a:moveTo>
                  <a:pt x="574" y="369"/>
                </a:moveTo>
                <a:lnTo>
                  <a:pt x="544" y="369"/>
                </a:lnTo>
                <a:lnTo>
                  <a:pt x="544" y="339"/>
                </a:lnTo>
                <a:lnTo>
                  <a:pt x="574" y="339"/>
                </a:lnTo>
                <a:lnTo>
                  <a:pt x="574" y="369"/>
                </a:lnTo>
                <a:close/>
                <a:moveTo>
                  <a:pt x="574" y="406"/>
                </a:moveTo>
                <a:lnTo>
                  <a:pt x="544" y="406"/>
                </a:lnTo>
                <a:lnTo>
                  <a:pt x="544" y="380"/>
                </a:lnTo>
                <a:lnTo>
                  <a:pt x="574" y="380"/>
                </a:lnTo>
                <a:lnTo>
                  <a:pt x="574" y="406"/>
                </a:lnTo>
                <a:close/>
                <a:moveTo>
                  <a:pt x="574" y="443"/>
                </a:moveTo>
                <a:lnTo>
                  <a:pt x="544" y="443"/>
                </a:lnTo>
                <a:lnTo>
                  <a:pt x="544" y="418"/>
                </a:lnTo>
                <a:lnTo>
                  <a:pt x="574" y="418"/>
                </a:lnTo>
                <a:lnTo>
                  <a:pt x="574" y="44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4" name="Freeform 28">
            <a:extLst>
              <a:ext uri="{FF2B5EF4-FFF2-40B4-BE49-F238E27FC236}">
                <a16:creationId xmlns:a16="http://schemas.microsoft.com/office/drawing/2014/main" id="{7DC20AA5-0682-CD4D-86D4-6D7695CA75C8}"/>
              </a:ext>
            </a:extLst>
          </p:cNvPr>
          <p:cNvSpPr>
            <a:spLocks noChangeAspect="1" noEditPoints="1"/>
          </p:cNvSpPr>
          <p:nvPr/>
        </p:nvSpPr>
        <p:spPr bwMode="auto">
          <a:xfrm>
            <a:off x="484533" y="3688332"/>
            <a:ext cx="258763" cy="260350"/>
          </a:xfrm>
          <a:custGeom>
            <a:avLst/>
            <a:gdLst>
              <a:gd name="T0" fmla="*/ 576 w 576"/>
              <a:gd name="T1" fmla="*/ 576 h 576"/>
              <a:gd name="T2" fmla="*/ 551 w 576"/>
              <a:gd name="T3" fmla="*/ 551 h 576"/>
              <a:gd name="T4" fmla="*/ 551 w 576"/>
              <a:gd name="T5" fmla="*/ 25 h 576"/>
              <a:gd name="T6" fmla="*/ 391 w 576"/>
              <a:gd name="T7" fmla="*/ 149 h 576"/>
              <a:gd name="T8" fmla="*/ 342 w 576"/>
              <a:gd name="T9" fmla="*/ 178 h 576"/>
              <a:gd name="T10" fmla="*/ 385 w 576"/>
              <a:gd name="T11" fmla="*/ 319 h 576"/>
              <a:gd name="T12" fmla="*/ 324 w 576"/>
              <a:gd name="T13" fmla="*/ 427 h 576"/>
              <a:gd name="T14" fmla="*/ 366 w 576"/>
              <a:gd name="T15" fmla="*/ 394 h 576"/>
              <a:gd name="T16" fmla="*/ 410 w 576"/>
              <a:gd name="T17" fmla="*/ 261 h 576"/>
              <a:gd name="T18" fmla="*/ 357 w 576"/>
              <a:gd name="T19" fmla="*/ 439 h 576"/>
              <a:gd name="T20" fmla="*/ 369 w 576"/>
              <a:gd name="T21" fmla="*/ 427 h 576"/>
              <a:gd name="T22" fmla="*/ 369 w 576"/>
              <a:gd name="T23" fmla="*/ 149 h 576"/>
              <a:gd name="T24" fmla="*/ 358 w 576"/>
              <a:gd name="T25" fmla="*/ 137 h 576"/>
              <a:gd name="T26" fmla="*/ 339 w 576"/>
              <a:gd name="T27" fmla="*/ 50 h 576"/>
              <a:gd name="T28" fmla="*/ 113 w 576"/>
              <a:gd name="T29" fmla="*/ 120 h 576"/>
              <a:gd name="T30" fmla="*/ 54 w 576"/>
              <a:gd name="T31" fmla="*/ 363 h 576"/>
              <a:gd name="T32" fmla="*/ 235 w 576"/>
              <a:gd name="T33" fmla="*/ 524 h 576"/>
              <a:gd name="T34" fmla="*/ 463 w 576"/>
              <a:gd name="T35" fmla="*/ 455 h 576"/>
              <a:gd name="T36" fmla="*/ 524 w 576"/>
              <a:gd name="T37" fmla="*/ 223 h 576"/>
              <a:gd name="T38" fmla="*/ 140 w 576"/>
              <a:gd name="T39" fmla="*/ 399 h 576"/>
              <a:gd name="T40" fmla="*/ 181 w 576"/>
              <a:gd name="T41" fmla="*/ 375 h 576"/>
              <a:gd name="T42" fmla="*/ 126 w 576"/>
              <a:gd name="T43" fmla="*/ 377 h 576"/>
              <a:gd name="T44" fmla="*/ 91 w 576"/>
              <a:gd name="T45" fmla="*/ 309 h 576"/>
              <a:gd name="T46" fmla="*/ 122 w 576"/>
              <a:gd name="T47" fmla="*/ 263 h 576"/>
              <a:gd name="T48" fmla="*/ 79 w 576"/>
              <a:gd name="T49" fmla="*/ 237 h 576"/>
              <a:gd name="T50" fmla="*/ 162 w 576"/>
              <a:gd name="T51" fmla="*/ 231 h 576"/>
              <a:gd name="T52" fmla="*/ 156 w 576"/>
              <a:gd name="T53" fmla="*/ 195 h 576"/>
              <a:gd name="T54" fmla="*/ 237 w 576"/>
              <a:gd name="T55" fmla="*/ 80 h 576"/>
              <a:gd name="T56" fmla="*/ 262 w 576"/>
              <a:gd name="T57" fmla="*/ 283 h 576"/>
              <a:gd name="T58" fmla="*/ 248 w 576"/>
              <a:gd name="T59" fmla="*/ 315 h 576"/>
              <a:gd name="T60" fmla="*/ 275 w 576"/>
              <a:gd name="T61" fmla="*/ 474 h 576"/>
              <a:gd name="T62" fmla="*/ 111 w 576"/>
              <a:gd name="T63" fmla="*/ 297 h 576"/>
              <a:gd name="T64" fmla="*/ 122 w 576"/>
              <a:gd name="T65" fmla="*/ 308 h 576"/>
              <a:gd name="T66" fmla="*/ 433 w 576"/>
              <a:gd name="T67" fmla="*/ 369 h 576"/>
              <a:gd name="T68" fmla="*/ 415 w 576"/>
              <a:gd name="T69" fmla="*/ 394 h 576"/>
              <a:gd name="T70" fmla="*/ 437 w 576"/>
              <a:gd name="T71" fmla="*/ 440 h 576"/>
              <a:gd name="T72" fmla="*/ 300 w 576"/>
              <a:gd name="T73" fmla="*/ 309 h 576"/>
              <a:gd name="T74" fmla="*/ 349 w 576"/>
              <a:gd name="T75" fmla="*/ 296 h 576"/>
              <a:gd name="T76" fmla="*/ 300 w 576"/>
              <a:gd name="T77" fmla="*/ 283 h 576"/>
              <a:gd name="T78" fmla="*/ 439 w 576"/>
              <a:gd name="T79" fmla="*/ 135 h 576"/>
              <a:gd name="T80" fmla="*/ 415 w 576"/>
              <a:gd name="T81" fmla="*/ 194 h 576"/>
              <a:gd name="T82" fmla="*/ 433 w 576"/>
              <a:gd name="T83" fmla="*/ 218 h 576"/>
              <a:gd name="T84" fmla="*/ 498 w 576"/>
              <a:gd name="T85" fmla="*/ 283 h 576"/>
              <a:gd name="T86" fmla="*/ 424 w 576"/>
              <a:gd name="T87" fmla="*/ 297 h 576"/>
              <a:gd name="T88" fmla="*/ 498 w 576"/>
              <a:gd name="T89" fmla="*/ 309 h 576"/>
              <a:gd name="T90" fmla="*/ 470 w 576"/>
              <a:gd name="T91" fmla="*/ 297 h 576"/>
              <a:gd name="T92" fmla="*/ 458 w 576"/>
              <a:gd name="T93" fmla="*/ 285 h 576"/>
              <a:gd name="T94" fmla="*/ 237 w 576"/>
              <a:gd name="T95" fmla="*/ 340 h 576"/>
              <a:gd name="T96" fmla="*/ 236 w 576"/>
              <a:gd name="T97" fmla="*/ 243 h 576"/>
              <a:gd name="T98" fmla="*/ 221 w 576"/>
              <a:gd name="T99" fmla="*/ 114 h 576"/>
              <a:gd name="T100" fmla="*/ 210 w 576"/>
              <a:gd name="T101" fmla="*/ 181 h 576"/>
              <a:gd name="T102" fmla="*/ 167 w 576"/>
              <a:gd name="T103" fmla="*/ 335 h 576"/>
              <a:gd name="T104" fmla="*/ 187 w 576"/>
              <a:gd name="T105" fmla="*/ 428 h 576"/>
              <a:gd name="T106" fmla="*/ 237 w 576"/>
              <a:gd name="T107" fmla="*/ 398 h 576"/>
              <a:gd name="T108" fmla="*/ 221 w 576"/>
              <a:gd name="T109" fmla="*/ 160 h 576"/>
              <a:gd name="T110" fmla="*/ 221 w 576"/>
              <a:gd name="T111" fmla="*/ 440 h 576"/>
              <a:gd name="T112" fmla="*/ 233 w 576"/>
              <a:gd name="T113" fmla="*/ 42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367" y="181"/>
                </a:moveTo>
                <a:cubicBezTo>
                  <a:pt x="381" y="177"/>
                  <a:pt x="391" y="164"/>
                  <a:pt x="391" y="149"/>
                </a:cubicBezTo>
                <a:cubicBezTo>
                  <a:pt x="391" y="130"/>
                  <a:pt x="376" y="115"/>
                  <a:pt x="358" y="115"/>
                </a:cubicBezTo>
                <a:cubicBezTo>
                  <a:pt x="339" y="115"/>
                  <a:pt x="324" y="130"/>
                  <a:pt x="324" y="149"/>
                </a:cubicBezTo>
                <a:cubicBezTo>
                  <a:pt x="324" y="161"/>
                  <a:pt x="331" y="173"/>
                  <a:pt x="342" y="178"/>
                </a:cubicBezTo>
                <a:cubicBezTo>
                  <a:pt x="342" y="243"/>
                  <a:pt x="342" y="243"/>
                  <a:pt x="342" y="243"/>
                </a:cubicBezTo>
                <a:cubicBezTo>
                  <a:pt x="385" y="274"/>
                  <a:pt x="385" y="274"/>
                  <a:pt x="385" y="274"/>
                </a:cubicBezTo>
                <a:cubicBezTo>
                  <a:pt x="385" y="319"/>
                  <a:pt x="385" y="319"/>
                  <a:pt x="385" y="319"/>
                </a:cubicBezTo>
                <a:cubicBezTo>
                  <a:pt x="341" y="340"/>
                  <a:pt x="341" y="340"/>
                  <a:pt x="341" y="340"/>
                </a:cubicBezTo>
                <a:cubicBezTo>
                  <a:pt x="341" y="398"/>
                  <a:pt x="341" y="398"/>
                  <a:pt x="341" y="398"/>
                </a:cubicBezTo>
                <a:cubicBezTo>
                  <a:pt x="330" y="404"/>
                  <a:pt x="324" y="414"/>
                  <a:pt x="324" y="427"/>
                </a:cubicBezTo>
                <a:cubicBezTo>
                  <a:pt x="324" y="446"/>
                  <a:pt x="339" y="461"/>
                  <a:pt x="357" y="461"/>
                </a:cubicBezTo>
                <a:cubicBezTo>
                  <a:pt x="376" y="461"/>
                  <a:pt x="391" y="446"/>
                  <a:pt x="391" y="427"/>
                </a:cubicBezTo>
                <a:cubicBezTo>
                  <a:pt x="391" y="411"/>
                  <a:pt x="380" y="398"/>
                  <a:pt x="366" y="394"/>
                </a:cubicBezTo>
                <a:cubicBezTo>
                  <a:pt x="366" y="356"/>
                  <a:pt x="366" y="356"/>
                  <a:pt x="366" y="356"/>
                </a:cubicBezTo>
                <a:cubicBezTo>
                  <a:pt x="410" y="335"/>
                  <a:pt x="410" y="335"/>
                  <a:pt x="410" y="335"/>
                </a:cubicBezTo>
                <a:cubicBezTo>
                  <a:pt x="410" y="261"/>
                  <a:pt x="410" y="261"/>
                  <a:pt x="410" y="261"/>
                </a:cubicBezTo>
                <a:cubicBezTo>
                  <a:pt x="367" y="230"/>
                  <a:pt x="367" y="230"/>
                  <a:pt x="367" y="230"/>
                </a:cubicBezTo>
                <a:lnTo>
                  <a:pt x="367" y="181"/>
                </a:lnTo>
                <a:close/>
                <a:moveTo>
                  <a:pt x="357" y="439"/>
                </a:moveTo>
                <a:cubicBezTo>
                  <a:pt x="351" y="439"/>
                  <a:pt x="346" y="433"/>
                  <a:pt x="346" y="427"/>
                </a:cubicBezTo>
                <a:cubicBezTo>
                  <a:pt x="346" y="421"/>
                  <a:pt x="351" y="415"/>
                  <a:pt x="357" y="415"/>
                </a:cubicBezTo>
                <a:cubicBezTo>
                  <a:pt x="364" y="415"/>
                  <a:pt x="369" y="421"/>
                  <a:pt x="369" y="427"/>
                </a:cubicBezTo>
                <a:cubicBezTo>
                  <a:pt x="369" y="433"/>
                  <a:pt x="364" y="439"/>
                  <a:pt x="357" y="439"/>
                </a:cubicBezTo>
                <a:close/>
                <a:moveTo>
                  <a:pt x="358" y="137"/>
                </a:moveTo>
                <a:cubicBezTo>
                  <a:pt x="364" y="137"/>
                  <a:pt x="369" y="142"/>
                  <a:pt x="369" y="149"/>
                </a:cubicBezTo>
                <a:cubicBezTo>
                  <a:pt x="369" y="155"/>
                  <a:pt x="364" y="160"/>
                  <a:pt x="358" y="160"/>
                </a:cubicBezTo>
                <a:cubicBezTo>
                  <a:pt x="351" y="160"/>
                  <a:pt x="346" y="155"/>
                  <a:pt x="346" y="149"/>
                </a:cubicBezTo>
                <a:cubicBezTo>
                  <a:pt x="346" y="142"/>
                  <a:pt x="351" y="137"/>
                  <a:pt x="358" y="137"/>
                </a:cubicBezTo>
                <a:close/>
                <a:moveTo>
                  <a:pt x="464" y="186"/>
                </a:moveTo>
                <a:cubicBezTo>
                  <a:pt x="464" y="120"/>
                  <a:pt x="464" y="120"/>
                  <a:pt x="464" y="120"/>
                </a:cubicBezTo>
                <a:cubicBezTo>
                  <a:pt x="339" y="50"/>
                  <a:pt x="339" y="50"/>
                  <a:pt x="339" y="50"/>
                </a:cubicBezTo>
                <a:cubicBezTo>
                  <a:pt x="289" y="82"/>
                  <a:pt x="289" y="82"/>
                  <a:pt x="289" y="82"/>
                </a:cubicBezTo>
                <a:cubicBezTo>
                  <a:pt x="238" y="50"/>
                  <a:pt x="238" y="50"/>
                  <a:pt x="238" y="50"/>
                </a:cubicBezTo>
                <a:cubicBezTo>
                  <a:pt x="113" y="120"/>
                  <a:pt x="113" y="120"/>
                  <a:pt x="113" y="120"/>
                </a:cubicBezTo>
                <a:cubicBezTo>
                  <a:pt x="113" y="186"/>
                  <a:pt x="113" y="186"/>
                  <a:pt x="113" y="186"/>
                </a:cubicBezTo>
                <a:cubicBezTo>
                  <a:pt x="54" y="223"/>
                  <a:pt x="54" y="223"/>
                  <a:pt x="54" y="223"/>
                </a:cubicBezTo>
                <a:cubicBezTo>
                  <a:pt x="54" y="363"/>
                  <a:pt x="54" y="363"/>
                  <a:pt x="54" y="363"/>
                </a:cubicBezTo>
                <a:cubicBezTo>
                  <a:pt x="115" y="400"/>
                  <a:pt x="115" y="400"/>
                  <a:pt x="115" y="400"/>
                </a:cubicBezTo>
                <a:cubicBezTo>
                  <a:pt x="115" y="455"/>
                  <a:pt x="115" y="455"/>
                  <a:pt x="115" y="455"/>
                </a:cubicBezTo>
                <a:cubicBezTo>
                  <a:pt x="235" y="524"/>
                  <a:pt x="235" y="524"/>
                  <a:pt x="235" y="524"/>
                </a:cubicBezTo>
                <a:cubicBezTo>
                  <a:pt x="289" y="495"/>
                  <a:pt x="289" y="495"/>
                  <a:pt x="289" y="495"/>
                </a:cubicBezTo>
                <a:cubicBezTo>
                  <a:pt x="343" y="524"/>
                  <a:pt x="343" y="524"/>
                  <a:pt x="343" y="524"/>
                </a:cubicBezTo>
                <a:cubicBezTo>
                  <a:pt x="463" y="455"/>
                  <a:pt x="463" y="455"/>
                  <a:pt x="463" y="455"/>
                </a:cubicBezTo>
                <a:cubicBezTo>
                  <a:pt x="463" y="400"/>
                  <a:pt x="463" y="400"/>
                  <a:pt x="463" y="400"/>
                </a:cubicBezTo>
                <a:cubicBezTo>
                  <a:pt x="524" y="363"/>
                  <a:pt x="524" y="363"/>
                  <a:pt x="524" y="363"/>
                </a:cubicBezTo>
                <a:cubicBezTo>
                  <a:pt x="524" y="223"/>
                  <a:pt x="524" y="223"/>
                  <a:pt x="524" y="223"/>
                </a:cubicBezTo>
                <a:lnTo>
                  <a:pt x="464" y="186"/>
                </a:lnTo>
                <a:close/>
                <a:moveTo>
                  <a:pt x="140" y="440"/>
                </a:moveTo>
                <a:cubicBezTo>
                  <a:pt x="140" y="399"/>
                  <a:pt x="140" y="399"/>
                  <a:pt x="140" y="399"/>
                </a:cubicBezTo>
                <a:cubicBezTo>
                  <a:pt x="155" y="392"/>
                  <a:pt x="155" y="392"/>
                  <a:pt x="155" y="392"/>
                </a:cubicBezTo>
                <a:cubicBezTo>
                  <a:pt x="157" y="393"/>
                  <a:pt x="160" y="394"/>
                  <a:pt x="162" y="394"/>
                </a:cubicBezTo>
                <a:cubicBezTo>
                  <a:pt x="173" y="394"/>
                  <a:pt x="181" y="385"/>
                  <a:pt x="181" y="375"/>
                </a:cubicBezTo>
                <a:cubicBezTo>
                  <a:pt x="181" y="365"/>
                  <a:pt x="173" y="356"/>
                  <a:pt x="162" y="356"/>
                </a:cubicBezTo>
                <a:cubicBezTo>
                  <a:pt x="154" y="356"/>
                  <a:pt x="147" y="362"/>
                  <a:pt x="145" y="369"/>
                </a:cubicBezTo>
                <a:cubicBezTo>
                  <a:pt x="126" y="377"/>
                  <a:pt x="126" y="377"/>
                  <a:pt x="126" y="377"/>
                </a:cubicBezTo>
                <a:cubicBezTo>
                  <a:pt x="79" y="348"/>
                  <a:pt x="79" y="348"/>
                  <a:pt x="79" y="348"/>
                </a:cubicBezTo>
                <a:cubicBezTo>
                  <a:pt x="79" y="309"/>
                  <a:pt x="79" y="309"/>
                  <a:pt x="79" y="309"/>
                </a:cubicBezTo>
                <a:cubicBezTo>
                  <a:pt x="91" y="309"/>
                  <a:pt x="91" y="309"/>
                  <a:pt x="91" y="309"/>
                </a:cubicBezTo>
                <a:cubicBezTo>
                  <a:pt x="96" y="321"/>
                  <a:pt x="108" y="330"/>
                  <a:pt x="122" y="330"/>
                </a:cubicBezTo>
                <a:cubicBezTo>
                  <a:pt x="141" y="330"/>
                  <a:pt x="156" y="315"/>
                  <a:pt x="156" y="297"/>
                </a:cubicBezTo>
                <a:cubicBezTo>
                  <a:pt x="156" y="278"/>
                  <a:pt x="141" y="263"/>
                  <a:pt x="122" y="263"/>
                </a:cubicBezTo>
                <a:cubicBezTo>
                  <a:pt x="108" y="263"/>
                  <a:pt x="96" y="271"/>
                  <a:pt x="91" y="283"/>
                </a:cubicBezTo>
                <a:cubicBezTo>
                  <a:pt x="79" y="283"/>
                  <a:pt x="79" y="283"/>
                  <a:pt x="79" y="283"/>
                </a:cubicBezTo>
                <a:cubicBezTo>
                  <a:pt x="79" y="237"/>
                  <a:pt x="79" y="237"/>
                  <a:pt x="79" y="237"/>
                </a:cubicBezTo>
                <a:cubicBezTo>
                  <a:pt x="126" y="208"/>
                  <a:pt x="126" y="208"/>
                  <a:pt x="126" y="208"/>
                </a:cubicBezTo>
                <a:cubicBezTo>
                  <a:pt x="145" y="218"/>
                  <a:pt x="145" y="218"/>
                  <a:pt x="145" y="218"/>
                </a:cubicBezTo>
                <a:cubicBezTo>
                  <a:pt x="147" y="225"/>
                  <a:pt x="154" y="231"/>
                  <a:pt x="162" y="231"/>
                </a:cubicBezTo>
                <a:cubicBezTo>
                  <a:pt x="173" y="231"/>
                  <a:pt x="181" y="223"/>
                  <a:pt x="181" y="212"/>
                </a:cubicBezTo>
                <a:cubicBezTo>
                  <a:pt x="181" y="202"/>
                  <a:pt x="173" y="194"/>
                  <a:pt x="162" y="194"/>
                </a:cubicBezTo>
                <a:cubicBezTo>
                  <a:pt x="160" y="194"/>
                  <a:pt x="158" y="194"/>
                  <a:pt x="156" y="195"/>
                </a:cubicBezTo>
                <a:cubicBezTo>
                  <a:pt x="139" y="185"/>
                  <a:pt x="139" y="185"/>
                  <a:pt x="139" y="185"/>
                </a:cubicBezTo>
                <a:cubicBezTo>
                  <a:pt x="139" y="135"/>
                  <a:pt x="139" y="135"/>
                  <a:pt x="139" y="135"/>
                </a:cubicBezTo>
                <a:cubicBezTo>
                  <a:pt x="237" y="80"/>
                  <a:pt x="237" y="80"/>
                  <a:pt x="237" y="80"/>
                </a:cubicBezTo>
                <a:cubicBezTo>
                  <a:pt x="275" y="102"/>
                  <a:pt x="275" y="102"/>
                  <a:pt x="275" y="102"/>
                </a:cubicBezTo>
                <a:cubicBezTo>
                  <a:pt x="275" y="283"/>
                  <a:pt x="275" y="283"/>
                  <a:pt x="275" y="283"/>
                </a:cubicBezTo>
                <a:cubicBezTo>
                  <a:pt x="262" y="283"/>
                  <a:pt x="262" y="283"/>
                  <a:pt x="262" y="283"/>
                </a:cubicBezTo>
                <a:cubicBezTo>
                  <a:pt x="259" y="280"/>
                  <a:pt x="254" y="277"/>
                  <a:pt x="248" y="277"/>
                </a:cubicBezTo>
                <a:cubicBezTo>
                  <a:pt x="238" y="277"/>
                  <a:pt x="229" y="285"/>
                  <a:pt x="229" y="296"/>
                </a:cubicBezTo>
                <a:cubicBezTo>
                  <a:pt x="229" y="306"/>
                  <a:pt x="238" y="315"/>
                  <a:pt x="248" y="315"/>
                </a:cubicBezTo>
                <a:cubicBezTo>
                  <a:pt x="253" y="315"/>
                  <a:pt x="258" y="312"/>
                  <a:pt x="262" y="309"/>
                </a:cubicBezTo>
                <a:cubicBezTo>
                  <a:pt x="275" y="309"/>
                  <a:pt x="275" y="309"/>
                  <a:pt x="275" y="309"/>
                </a:cubicBezTo>
                <a:cubicBezTo>
                  <a:pt x="275" y="474"/>
                  <a:pt x="275" y="474"/>
                  <a:pt x="275" y="474"/>
                </a:cubicBezTo>
                <a:cubicBezTo>
                  <a:pt x="235" y="495"/>
                  <a:pt x="235" y="495"/>
                  <a:pt x="235" y="495"/>
                </a:cubicBezTo>
                <a:lnTo>
                  <a:pt x="140" y="440"/>
                </a:lnTo>
                <a:close/>
                <a:moveTo>
                  <a:pt x="111" y="297"/>
                </a:moveTo>
                <a:cubicBezTo>
                  <a:pt x="111" y="290"/>
                  <a:pt x="116" y="285"/>
                  <a:pt x="122" y="285"/>
                </a:cubicBezTo>
                <a:cubicBezTo>
                  <a:pt x="129" y="285"/>
                  <a:pt x="134" y="290"/>
                  <a:pt x="134" y="297"/>
                </a:cubicBezTo>
                <a:cubicBezTo>
                  <a:pt x="134" y="303"/>
                  <a:pt x="129" y="308"/>
                  <a:pt x="122" y="308"/>
                </a:cubicBezTo>
                <a:cubicBezTo>
                  <a:pt x="116" y="308"/>
                  <a:pt x="111" y="303"/>
                  <a:pt x="111" y="297"/>
                </a:cubicBezTo>
                <a:close/>
                <a:moveTo>
                  <a:pt x="451" y="377"/>
                </a:moveTo>
                <a:cubicBezTo>
                  <a:pt x="433" y="369"/>
                  <a:pt x="433" y="369"/>
                  <a:pt x="433" y="369"/>
                </a:cubicBezTo>
                <a:cubicBezTo>
                  <a:pt x="430" y="362"/>
                  <a:pt x="423" y="356"/>
                  <a:pt x="415" y="356"/>
                </a:cubicBezTo>
                <a:cubicBezTo>
                  <a:pt x="405" y="356"/>
                  <a:pt x="396" y="365"/>
                  <a:pt x="396" y="375"/>
                </a:cubicBezTo>
                <a:cubicBezTo>
                  <a:pt x="396" y="385"/>
                  <a:pt x="405" y="394"/>
                  <a:pt x="415" y="394"/>
                </a:cubicBezTo>
                <a:cubicBezTo>
                  <a:pt x="418" y="394"/>
                  <a:pt x="420" y="393"/>
                  <a:pt x="422" y="392"/>
                </a:cubicBezTo>
                <a:cubicBezTo>
                  <a:pt x="437" y="399"/>
                  <a:pt x="437" y="399"/>
                  <a:pt x="437" y="399"/>
                </a:cubicBezTo>
                <a:cubicBezTo>
                  <a:pt x="437" y="440"/>
                  <a:pt x="437" y="440"/>
                  <a:pt x="437" y="440"/>
                </a:cubicBezTo>
                <a:cubicBezTo>
                  <a:pt x="342" y="495"/>
                  <a:pt x="342" y="495"/>
                  <a:pt x="342" y="495"/>
                </a:cubicBezTo>
                <a:cubicBezTo>
                  <a:pt x="300" y="472"/>
                  <a:pt x="300" y="472"/>
                  <a:pt x="300" y="472"/>
                </a:cubicBezTo>
                <a:cubicBezTo>
                  <a:pt x="300" y="309"/>
                  <a:pt x="300" y="309"/>
                  <a:pt x="300" y="309"/>
                </a:cubicBezTo>
                <a:cubicBezTo>
                  <a:pt x="317" y="309"/>
                  <a:pt x="317" y="309"/>
                  <a:pt x="317" y="309"/>
                </a:cubicBezTo>
                <a:cubicBezTo>
                  <a:pt x="320" y="312"/>
                  <a:pt x="325" y="315"/>
                  <a:pt x="330" y="315"/>
                </a:cubicBezTo>
                <a:cubicBezTo>
                  <a:pt x="341" y="315"/>
                  <a:pt x="349" y="306"/>
                  <a:pt x="349" y="296"/>
                </a:cubicBezTo>
                <a:cubicBezTo>
                  <a:pt x="349" y="285"/>
                  <a:pt x="341" y="277"/>
                  <a:pt x="330" y="277"/>
                </a:cubicBezTo>
                <a:cubicBezTo>
                  <a:pt x="325" y="277"/>
                  <a:pt x="320" y="280"/>
                  <a:pt x="316" y="283"/>
                </a:cubicBezTo>
                <a:cubicBezTo>
                  <a:pt x="300" y="283"/>
                  <a:pt x="300" y="283"/>
                  <a:pt x="300" y="283"/>
                </a:cubicBezTo>
                <a:cubicBezTo>
                  <a:pt x="300" y="104"/>
                  <a:pt x="300" y="104"/>
                  <a:pt x="300" y="104"/>
                </a:cubicBezTo>
                <a:cubicBezTo>
                  <a:pt x="340" y="80"/>
                  <a:pt x="340" y="80"/>
                  <a:pt x="340" y="80"/>
                </a:cubicBezTo>
                <a:cubicBezTo>
                  <a:pt x="439" y="135"/>
                  <a:pt x="439" y="135"/>
                  <a:pt x="439" y="135"/>
                </a:cubicBezTo>
                <a:cubicBezTo>
                  <a:pt x="439" y="185"/>
                  <a:pt x="439" y="185"/>
                  <a:pt x="439" y="185"/>
                </a:cubicBezTo>
                <a:cubicBezTo>
                  <a:pt x="422" y="195"/>
                  <a:pt x="422" y="195"/>
                  <a:pt x="422" y="195"/>
                </a:cubicBezTo>
                <a:cubicBezTo>
                  <a:pt x="420" y="194"/>
                  <a:pt x="418" y="194"/>
                  <a:pt x="415" y="194"/>
                </a:cubicBezTo>
                <a:cubicBezTo>
                  <a:pt x="405" y="194"/>
                  <a:pt x="396" y="202"/>
                  <a:pt x="396" y="212"/>
                </a:cubicBezTo>
                <a:cubicBezTo>
                  <a:pt x="396" y="223"/>
                  <a:pt x="405" y="231"/>
                  <a:pt x="415" y="231"/>
                </a:cubicBezTo>
                <a:cubicBezTo>
                  <a:pt x="424" y="231"/>
                  <a:pt x="431" y="225"/>
                  <a:pt x="433" y="218"/>
                </a:cubicBezTo>
                <a:cubicBezTo>
                  <a:pt x="451" y="208"/>
                  <a:pt x="451" y="208"/>
                  <a:pt x="451" y="208"/>
                </a:cubicBezTo>
                <a:cubicBezTo>
                  <a:pt x="498" y="237"/>
                  <a:pt x="498" y="237"/>
                  <a:pt x="498" y="237"/>
                </a:cubicBezTo>
                <a:cubicBezTo>
                  <a:pt x="498" y="283"/>
                  <a:pt x="498" y="283"/>
                  <a:pt x="498" y="283"/>
                </a:cubicBezTo>
                <a:cubicBezTo>
                  <a:pt x="489" y="283"/>
                  <a:pt x="489" y="283"/>
                  <a:pt x="489" y="283"/>
                </a:cubicBezTo>
                <a:cubicBezTo>
                  <a:pt x="484" y="271"/>
                  <a:pt x="472" y="263"/>
                  <a:pt x="458" y="263"/>
                </a:cubicBezTo>
                <a:cubicBezTo>
                  <a:pt x="439" y="263"/>
                  <a:pt x="424" y="278"/>
                  <a:pt x="424" y="297"/>
                </a:cubicBezTo>
                <a:cubicBezTo>
                  <a:pt x="424" y="315"/>
                  <a:pt x="439" y="330"/>
                  <a:pt x="458" y="330"/>
                </a:cubicBezTo>
                <a:cubicBezTo>
                  <a:pt x="472" y="330"/>
                  <a:pt x="485" y="321"/>
                  <a:pt x="489" y="309"/>
                </a:cubicBezTo>
                <a:cubicBezTo>
                  <a:pt x="498" y="309"/>
                  <a:pt x="498" y="309"/>
                  <a:pt x="498" y="309"/>
                </a:cubicBezTo>
                <a:cubicBezTo>
                  <a:pt x="498" y="348"/>
                  <a:pt x="498" y="348"/>
                  <a:pt x="498" y="348"/>
                </a:cubicBezTo>
                <a:lnTo>
                  <a:pt x="451" y="377"/>
                </a:lnTo>
                <a:close/>
                <a:moveTo>
                  <a:pt x="470" y="297"/>
                </a:moveTo>
                <a:cubicBezTo>
                  <a:pt x="470" y="303"/>
                  <a:pt x="464" y="308"/>
                  <a:pt x="458" y="308"/>
                </a:cubicBezTo>
                <a:cubicBezTo>
                  <a:pt x="452" y="308"/>
                  <a:pt x="446" y="303"/>
                  <a:pt x="446" y="297"/>
                </a:cubicBezTo>
                <a:cubicBezTo>
                  <a:pt x="446" y="290"/>
                  <a:pt x="452" y="285"/>
                  <a:pt x="458" y="285"/>
                </a:cubicBezTo>
                <a:cubicBezTo>
                  <a:pt x="464" y="285"/>
                  <a:pt x="470" y="290"/>
                  <a:pt x="470" y="297"/>
                </a:cubicBezTo>
                <a:close/>
                <a:moveTo>
                  <a:pt x="237" y="398"/>
                </a:moveTo>
                <a:cubicBezTo>
                  <a:pt x="237" y="340"/>
                  <a:pt x="237" y="340"/>
                  <a:pt x="237" y="340"/>
                </a:cubicBezTo>
                <a:cubicBezTo>
                  <a:pt x="192" y="319"/>
                  <a:pt x="192" y="319"/>
                  <a:pt x="192" y="319"/>
                </a:cubicBezTo>
                <a:cubicBezTo>
                  <a:pt x="192" y="274"/>
                  <a:pt x="192" y="274"/>
                  <a:pt x="192" y="274"/>
                </a:cubicBezTo>
                <a:cubicBezTo>
                  <a:pt x="236" y="243"/>
                  <a:pt x="236" y="243"/>
                  <a:pt x="236" y="243"/>
                </a:cubicBezTo>
                <a:cubicBezTo>
                  <a:pt x="236" y="178"/>
                  <a:pt x="236" y="178"/>
                  <a:pt x="236" y="178"/>
                </a:cubicBezTo>
                <a:cubicBezTo>
                  <a:pt x="247" y="173"/>
                  <a:pt x="254" y="161"/>
                  <a:pt x="254" y="148"/>
                </a:cubicBezTo>
                <a:cubicBezTo>
                  <a:pt x="254" y="129"/>
                  <a:pt x="239" y="114"/>
                  <a:pt x="221" y="114"/>
                </a:cubicBezTo>
                <a:cubicBezTo>
                  <a:pt x="202" y="114"/>
                  <a:pt x="187" y="129"/>
                  <a:pt x="187" y="148"/>
                </a:cubicBezTo>
                <a:cubicBezTo>
                  <a:pt x="187" y="163"/>
                  <a:pt x="197" y="176"/>
                  <a:pt x="211" y="180"/>
                </a:cubicBezTo>
                <a:cubicBezTo>
                  <a:pt x="210" y="181"/>
                  <a:pt x="210" y="181"/>
                  <a:pt x="210" y="181"/>
                </a:cubicBezTo>
                <a:cubicBezTo>
                  <a:pt x="210" y="230"/>
                  <a:pt x="210" y="230"/>
                  <a:pt x="210" y="230"/>
                </a:cubicBezTo>
                <a:cubicBezTo>
                  <a:pt x="167" y="261"/>
                  <a:pt x="167" y="261"/>
                  <a:pt x="167" y="261"/>
                </a:cubicBezTo>
                <a:cubicBezTo>
                  <a:pt x="167" y="335"/>
                  <a:pt x="167" y="335"/>
                  <a:pt x="167" y="335"/>
                </a:cubicBezTo>
                <a:cubicBezTo>
                  <a:pt x="212" y="356"/>
                  <a:pt x="212" y="356"/>
                  <a:pt x="212" y="356"/>
                </a:cubicBezTo>
                <a:cubicBezTo>
                  <a:pt x="212" y="396"/>
                  <a:pt x="212" y="396"/>
                  <a:pt x="212" y="396"/>
                </a:cubicBezTo>
                <a:cubicBezTo>
                  <a:pt x="198" y="400"/>
                  <a:pt x="187" y="413"/>
                  <a:pt x="187" y="428"/>
                </a:cubicBezTo>
                <a:cubicBezTo>
                  <a:pt x="187" y="447"/>
                  <a:pt x="202" y="462"/>
                  <a:pt x="221" y="462"/>
                </a:cubicBezTo>
                <a:cubicBezTo>
                  <a:pt x="240" y="462"/>
                  <a:pt x="255" y="447"/>
                  <a:pt x="255" y="428"/>
                </a:cubicBezTo>
                <a:cubicBezTo>
                  <a:pt x="255" y="415"/>
                  <a:pt x="248" y="404"/>
                  <a:pt x="237" y="398"/>
                </a:cubicBezTo>
                <a:close/>
                <a:moveTo>
                  <a:pt x="221" y="136"/>
                </a:moveTo>
                <a:cubicBezTo>
                  <a:pt x="227" y="136"/>
                  <a:pt x="232" y="142"/>
                  <a:pt x="232" y="148"/>
                </a:cubicBezTo>
                <a:cubicBezTo>
                  <a:pt x="232" y="154"/>
                  <a:pt x="227" y="160"/>
                  <a:pt x="221" y="160"/>
                </a:cubicBezTo>
                <a:cubicBezTo>
                  <a:pt x="214" y="160"/>
                  <a:pt x="209" y="154"/>
                  <a:pt x="209" y="148"/>
                </a:cubicBezTo>
                <a:cubicBezTo>
                  <a:pt x="209" y="142"/>
                  <a:pt x="214" y="136"/>
                  <a:pt x="221" y="136"/>
                </a:cubicBezTo>
                <a:close/>
                <a:moveTo>
                  <a:pt x="221" y="440"/>
                </a:moveTo>
                <a:cubicBezTo>
                  <a:pt x="215" y="440"/>
                  <a:pt x="209" y="434"/>
                  <a:pt x="209" y="428"/>
                </a:cubicBezTo>
                <a:cubicBezTo>
                  <a:pt x="209" y="422"/>
                  <a:pt x="215" y="416"/>
                  <a:pt x="221" y="416"/>
                </a:cubicBezTo>
                <a:cubicBezTo>
                  <a:pt x="227" y="416"/>
                  <a:pt x="233" y="422"/>
                  <a:pt x="233" y="428"/>
                </a:cubicBezTo>
                <a:cubicBezTo>
                  <a:pt x="233" y="434"/>
                  <a:pt x="227" y="440"/>
                  <a:pt x="221" y="44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5" name="Freeform 206">
            <a:extLst>
              <a:ext uri="{FF2B5EF4-FFF2-40B4-BE49-F238E27FC236}">
                <a16:creationId xmlns:a16="http://schemas.microsoft.com/office/drawing/2014/main" id="{5C5D481C-01E2-054F-8A17-3DE39886EEF4}"/>
              </a:ext>
            </a:extLst>
          </p:cNvPr>
          <p:cNvSpPr/>
          <p:nvPr/>
        </p:nvSpPr>
        <p:spPr>
          <a:xfrm>
            <a:off x="484533" y="4125351"/>
            <a:ext cx="258763" cy="260350"/>
          </a:xfrm>
          <a:custGeom>
            <a:avLst/>
            <a:gdLst>
              <a:gd name="connsiteX0" fmla="*/ 456086 w 456085"/>
              <a:gd name="connsiteY0" fmla="*/ 0 h 455929"/>
              <a:gd name="connsiteX1" fmla="*/ 0 w 456085"/>
              <a:gd name="connsiteY1" fmla="*/ 0 h 455929"/>
              <a:gd name="connsiteX2" fmla="*/ 0 w 456085"/>
              <a:gd name="connsiteY2" fmla="*/ 455930 h 455929"/>
              <a:gd name="connsiteX3" fmla="*/ 126184 w 456085"/>
              <a:gd name="connsiteY3" fmla="*/ 455930 h 455929"/>
              <a:gd name="connsiteX4" fmla="*/ 126184 w 456085"/>
              <a:gd name="connsiteY4" fmla="*/ 455930 h 455929"/>
              <a:gd name="connsiteX5" fmla="*/ 126184 w 456085"/>
              <a:gd name="connsiteY5" fmla="*/ 455930 h 455929"/>
              <a:gd name="connsiteX6" fmla="*/ 455864 w 456085"/>
              <a:gd name="connsiteY6" fmla="*/ 455930 h 455929"/>
              <a:gd name="connsiteX7" fmla="*/ 19447 w 456085"/>
              <a:gd name="connsiteY7" fmla="*/ 432785 h 455929"/>
              <a:gd name="connsiteX8" fmla="*/ 141609 w 456085"/>
              <a:gd name="connsiteY8" fmla="*/ 311679 h 455929"/>
              <a:gd name="connsiteX9" fmla="*/ 146929 w 456085"/>
              <a:gd name="connsiteY9" fmla="*/ 306138 h 455929"/>
              <a:gd name="connsiteX10" fmla="*/ 157920 w 456085"/>
              <a:gd name="connsiteY10" fmla="*/ 299806 h 455929"/>
              <a:gd name="connsiteX11" fmla="*/ 254711 w 456085"/>
              <a:gd name="connsiteY11" fmla="*/ 299806 h 455929"/>
              <a:gd name="connsiteX12" fmla="*/ 255915 w 456085"/>
              <a:gd name="connsiteY12" fmla="*/ 299806 h 455929"/>
              <a:gd name="connsiteX13" fmla="*/ 272923 w 456085"/>
              <a:gd name="connsiteY13" fmla="*/ 305156 h 455929"/>
              <a:gd name="connsiteX14" fmla="*/ 272068 w 456085"/>
              <a:gd name="connsiteY14" fmla="*/ 320766 h 455929"/>
              <a:gd name="connsiteX15" fmla="*/ 269471 w 456085"/>
              <a:gd name="connsiteY15" fmla="*/ 323647 h 455929"/>
              <a:gd name="connsiteX16" fmla="*/ 256802 w 456085"/>
              <a:gd name="connsiteY16" fmla="*/ 324723 h 455929"/>
              <a:gd name="connsiteX17" fmla="*/ 253033 w 456085"/>
              <a:gd name="connsiteY17" fmla="*/ 324723 h 455929"/>
              <a:gd name="connsiteX18" fmla="*/ 167232 w 456085"/>
              <a:gd name="connsiteY18" fmla="*/ 324723 h 455929"/>
              <a:gd name="connsiteX19" fmla="*/ 167232 w 456085"/>
              <a:gd name="connsiteY19" fmla="*/ 344195 h 455929"/>
              <a:gd name="connsiteX20" fmla="*/ 253033 w 456085"/>
              <a:gd name="connsiteY20" fmla="*/ 344195 h 455929"/>
              <a:gd name="connsiteX21" fmla="*/ 256200 w 456085"/>
              <a:gd name="connsiteY21" fmla="*/ 344195 h 455929"/>
              <a:gd name="connsiteX22" fmla="*/ 267095 w 456085"/>
              <a:gd name="connsiteY22" fmla="*/ 343879 h 455929"/>
              <a:gd name="connsiteX23" fmla="*/ 276597 w 456085"/>
              <a:gd name="connsiteY23" fmla="*/ 341789 h 455929"/>
              <a:gd name="connsiteX24" fmla="*/ 315523 w 456085"/>
              <a:gd name="connsiteY24" fmla="*/ 313009 h 455929"/>
              <a:gd name="connsiteX25" fmla="*/ 381180 w 456085"/>
              <a:gd name="connsiteY25" fmla="*/ 247754 h 455929"/>
              <a:gd name="connsiteX26" fmla="*/ 383904 w 456085"/>
              <a:gd name="connsiteY26" fmla="*/ 245221 h 455929"/>
              <a:gd name="connsiteX27" fmla="*/ 395876 w 456085"/>
              <a:gd name="connsiteY27" fmla="*/ 240820 h 455929"/>
              <a:gd name="connsiteX28" fmla="*/ 402401 w 456085"/>
              <a:gd name="connsiteY28" fmla="*/ 244239 h 455929"/>
              <a:gd name="connsiteX29" fmla="*/ 400881 w 456085"/>
              <a:gd name="connsiteY29" fmla="*/ 262286 h 455929"/>
              <a:gd name="connsiteX30" fmla="*/ 367466 w 456085"/>
              <a:gd name="connsiteY30" fmla="*/ 294961 h 455929"/>
              <a:gd name="connsiteX31" fmla="*/ 298071 w 456085"/>
              <a:gd name="connsiteY31" fmla="*/ 362939 h 455929"/>
              <a:gd name="connsiteX32" fmla="*/ 297818 w 456085"/>
              <a:gd name="connsiteY32" fmla="*/ 363224 h 455929"/>
              <a:gd name="connsiteX33" fmla="*/ 268267 w 456085"/>
              <a:gd name="connsiteY33" fmla="*/ 377282 h 455929"/>
              <a:gd name="connsiteX34" fmla="*/ 178697 w 456085"/>
              <a:gd name="connsiteY34" fmla="*/ 377282 h 455929"/>
              <a:gd name="connsiteX35" fmla="*/ 118519 w 456085"/>
              <a:gd name="connsiteY35" fmla="*/ 436521 h 455929"/>
              <a:gd name="connsiteX36" fmla="*/ 19574 w 456085"/>
              <a:gd name="connsiteY36" fmla="*/ 436521 h 455929"/>
              <a:gd name="connsiteX37" fmla="*/ 436639 w 456085"/>
              <a:gd name="connsiteY37" fmla="*/ 436395 h 455929"/>
              <a:gd name="connsiteX38" fmla="*/ 146169 w 456085"/>
              <a:gd name="connsiteY38" fmla="*/ 436395 h 455929"/>
              <a:gd name="connsiteX39" fmla="*/ 186647 w 456085"/>
              <a:gd name="connsiteY39" fmla="*/ 396627 h 455929"/>
              <a:gd name="connsiteX40" fmla="*/ 268489 w 456085"/>
              <a:gd name="connsiteY40" fmla="*/ 396627 h 455929"/>
              <a:gd name="connsiteX41" fmla="*/ 312166 w 456085"/>
              <a:gd name="connsiteY41" fmla="*/ 376522 h 455929"/>
              <a:gd name="connsiteX42" fmla="*/ 312419 w 456085"/>
              <a:gd name="connsiteY42" fmla="*/ 376237 h 455929"/>
              <a:gd name="connsiteX43" fmla="*/ 381275 w 456085"/>
              <a:gd name="connsiteY43" fmla="*/ 308766 h 455929"/>
              <a:gd name="connsiteX44" fmla="*/ 414975 w 456085"/>
              <a:gd name="connsiteY44" fmla="*/ 275838 h 455929"/>
              <a:gd name="connsiteX45" fmla="*/ 417699 w 456085"/>
              <a:gd name="connsiteY45" fmla="*/ 231796 h 455929"/>
              <a:gd name="connsiteX46" fmla="*/ 397428 w 456085"/>
              <a:gd name="connsiteY46" fmla="*/ 221284 h 455929"/>
              <a:gd name="connsiteX47" fmla="*/ 370887 w 456085"/>
              <a:gd name="connsiteY47" fmla="*/ 230783 h 455929"/>
              <a:gd name="connsiteX48" fmla="*/ 368194 w 456085"/>
              <a:gd name="connsiteY48" fmla="*/ 233252 h 455929"/>
              <a:gd name="connsiteX49" fmla="*/ 301302 w 456085"/>
              <a:gd name="connsiteY49" fmla="*/ 299742 h 455929"/>
              <a:gd name="connsiteX50" fmla="*/ 293701 w 456085"/>
              <a:gd name="connsiteY50" fmla="*/ 307594 h 455929"/>
              <a:gd name="connsiteX51" fmla="*/ 290311 w 456085"/>
              <a:gd name="connsiteY51" fmla="*/ 295975 h 455929"/>
              <a:gd name="connsiteX52" fmla="*/ 254205 w 456085"/>
              <a:gd name="connsiteY52" fmla="*/ 280144 h 455929"/>
              <a:gd name="connsiteX53" fmla="*/ 157920 w 456085"/>
              <a:gd name="connsiteY53" fmla="*/ 280144 h 455929"/>
              <a:gd name="connsiteX54" fmla="*/ 132582 w 456085"/>
              <a:gd name="connsiteY54" fmla="*/ 292808 h 455929"/>
              <a:gd name="connsiteX55" fmla="*/ 127768 w 456085"/>
              <a:gd name="connsiteY55" fmla="*/ 297843 h 455929"/>
              <a:gd name="connsiteX56" fmla="*/ 19352 w 456085"/>
              <a:gd name="connsiteY56" fmla="*/ 405303 h 455929"/>
              <a:gd name="connsiteX57" fmla="*/ 19352 w 456085"/>
              <a:gd name="connsiteY57" fmla="*/ 19440 h 455929"/>
              <a:gd name="connsiteX58" fmla="*/ 436544 w 456085"/>
              <a:gd name="connsiteY58" fmla="*/ 19440 h 455929"/>
              <a:gd name="connsiteX59" fmla="*/ 235075 w 456085"/>
              <a:gd name="connsiteY59" fmla="*/ 145486 h 455929"/>
              <a:gd name="connsiteX60" fmla="*/ 235075 w 456085"/>
              <a:gd name="connsiteY60" fmla="*/ 131618 h 455929"/>
              <a:gd name="connsiteX61" fmla="*/ 238970 w 456085"/>
              <a:gd name="connsiteY61" fmla="*/ 137096 h 455929"/>
              <a:gd name="connsiteX62" fmla="*/ 238970 w 456085"/>
              <a:gd name="connsiteY62" fmla="*/ 137539 h 455929"/>
              <a:gd name="connsiteX63" fmla="*/ 250341 w 456085"/>
              <a:gd name="connsiteY63" fmla="*/ 136146 h 455929"/>
              <a:gd name="connsiteX64" fmla="*/ 250341 w 456085"/>
              <a:gd name="connsiteY64" fmla="*/ 135639 h 455929"/>
              <a:gd name="connsiteX65" fmla="*/ 245273 w 456085"/>
              <a:gd name="connsiteY65" fmla="*/ 126141 h 455929"/>
              <a:gd name="connsiteX66" fmla="*/ 235075 w 456085"/>
              <a:gd name="connsiteY66" fmla="*/ 121898 h 455929"/>
              <a:gd name="connsiteX67" fmla="*/ 235075 w 456085"/>
              <a:gd name="connsiteY67" fmla="*/ 118035 h 455929"/>
              <a:gd name="connsiteX68" fmla="*/ 228106 w 456085"/>
              <a:gd name="connsiteY68" fmla="*/ 118035 h 455929"/>
              <a:gd name="connsiteX69" fmla="*/ 228106 w 456085"/>
              <a:gd name="connsiteY69" fmla="*/ 121898 h 455929"/>
              <a:gd name="connsiteX70" fmla="*/ 216957 w 456085"/>
              <a:gd name="connsiteY70" fmla="*/ 126932 h 455929"/>
              <a:gd name="connsiteX71" fmla="*/ 212587 w 456085"/>
              <a:gd name="connsiteY71" fmla="*/ 137855 h 455929"/>
              <a:gd name="connsiteX72" fmla="*/ 216451 w 456085"/>
              <a:gd name="connsiteY72" fmla="*/ 148779 h 455929"/>
              <a:gd name="connsiteX73" fmla="*/ 228106 w 456085"/>
              <a:gd name="connsiteY73" fmla="*/ 155364 h 455929"/>
              <a:gd name="connsiteX74" fmla="*/ 228106 w 456085"/>
              <a:gd name="connsiteY74" fmla="*/ 170277 h 455929"/>
              <a:gd name="connsiteX75" fmla="*/ 224939 w 456085"/>
              <a:gd name="connsiteY75" fmla="*/ 167554 h 455929"/>
              <a:gd name="connsiteX76" fmla="*/ 222564 w 456085"/>
              <a:gd name="connsiteY76" fmla="*/ 162457 h 455929"/>
              <a:gd name="connsiteX77" fmla="*/ 222564 w 456085"/>
              <a:gd name="connsiteY77" fmla="*/ 162013 h 455929"/>
              <a:gd name="connsiteX78" fmla="*/ 210845 w 456085"/>
              <a:gd name="connsiteY78" fmla="*/ 163217 h 455929"/>
              <a:gd name="connsiteX79" fmla="*/ 210845 w 456085"/>
              <a:gd name="connsiteY79" fmla="*/ 163723 h 455929"/>
              <a:gd name="connsiteX80" fmla="*/ 216641 w 456085"/>
              <a:gd name="connsiteY80" fmla="*/ 175723 h 455929"/>
              <a:gd name="connsiteX81" fmla="*/ 227980 w 456085"/>
              <a:gd name="connsiteY81" fmla="*/ 180757 h 455929"/>
              <a:gd name="connsiteX82" fmla="*/ 227980 w 456085"/>
              <a:gd name="connsiteY82" fmla="*/ 187818 h 455929"/>
              <a:gd name="connsiteX83" fmla="*/ 234948 w 456085"/>
              <a:gd name="connsiteY83" fmla="*/ 187818 h 455929"/>
              <a:gd name="connsiteX84" fmla="*/ 234948 w 456085"/>
              <a:gd name="connsiteY84" fmla="*/ 180567 h 455929"/>
              <a:gd name="connsiteX85" fmla="*/ 247300 w 456085"/>
              <a:gd name="connsiteY85" fmla="*/ 174615 h 455929"/>
              <a:gd name="connsiteX86" fmla="*/ 251892 w 456085"/>
              <a:gd name="connsiteY86" fmla="*/ 162552 h 455929"/>
              <a:gd name="connsiteX87" fmla="*/ 248218 w 456085"/>
              <a:gd name="connsiteY87" fmla="*/ 152040 h 455929"/>
              <a:gd name="connsiteX88" fmla="*/ 235075 w 456085"/>
              <a:gd name="connsiteY88" fmla="*/ 145486 h 455929"/>
              <a:gd name="connsiteX89" fmla="*/ 228106 w 456085"/>
              <a:gd name="connsiteY89" fmla="*/ 143270 h 455929"/>
              <a:gd name="connsiteX90" fmla="*/ 225098 w 456085"/>
              <a:gd name="connsiteY90" fmla="*/ 140927 h 455929"/>
              <a:gd name="connsiteX91" fmla="*/ 223862 w 456085"/>
              <a:gd name="connsiteY91" fmla="*/ 137412 h 455929"/>
              <a:gd name="connsiteX92" fmla="*/ 225193 w 456085"/>
              <a:gd name="connsiteY92" fmla="*/ 133613 h 455929"/>
              <a:gd name="connsiteX93" fmla="*/ 228106 w 456085"/>
              <a:gd name="connsiteY93" fmla="*/ 131428 h 455929"/>
              <a:gd name="connsiteX94" fmla="*/ 239160 w 456085"/>
              <a:gd name="connsiteY94" fmla="*/ 168599 h 455929"/>
              <a:gd name="connsiteX95" fmla="*/ 235075 w 456085"/>
              <a:gd name="connsiteY95" fmla="*/ 171005 h 455929"/>
              <a:gd name="connsiteX96" fmla="*/ 235075 w 456085"/>
              <a:gd name="connsiteY96" fmla="*/ 157264 h 455929"/>
              <a:gd name="connsiteX97" fmla="*/ 239445 w 456085"/>
              <a:gd name="connsiteY97" fmla="*/ 159765 h 455929"/>
              <a:gd name="connsiteX98" fmla="*/ 240966 w 456085"/>
              <a:gd name="connsiteY98" fmla="*/ 163913 h 455929"/>
              <a:gd name="connsiteX99" fmla="*/ 239160 w 456085"/>
              <a:gd name="connsiteY99" fmla="*/ 168631 h 455929"/>
              <a:gd name="connsiteX100" fmla="*/ 263833 w 456085"/>
              <a:gd name="connsiteY100" fmla="*/ 65793 h 455929"/>
              <a:gd name="connsiteX101" fmla="*/ 225224 w 456085"/>
              <a:gd name="connsiteY101" fmla="*/ 104389 h 455929"/>
              <a:gd name="connsiteX102" fmla="*/ 211446 w 456085"/>
              <a:gd name="connsiteY102" fmla="*/ 90616 h 455929"/>
              <a:gd name="connsiteX103" fmla="*/ 224559 w 456085"/>
              <a:gd name="connsiteY103" fmla="*/ 77508 h 455929"/>
              <a:gd name="connsiteX104" fmla="*/ 157666 w 456085"/>
              <a:gd name="connsiteY104" fmla="*/ 152768 h 455929"/>
              <a:gd name="connsiteX105" fmla="*/ 183448 w 456085"/>
              <a:gd name="connsiteY105" fmla="*/ 208968 h 455929"/>
              <a:gd name="connsiteX106" fmla="*/ 172204 w 456085"/>
              <a:gd name="connsiteY106" fmla="*/ 225147 h 455929"/>
              <a:gd name="connsiteX107" fmla="*/ 138124 w 456085"/>
              <a:gd name="connsiteY107" fmla="*/ 152768 h 455929"/>
              <a:gd name="connsiteX108" fmla="*/ 225858 w 456085"/>
              <a:gd name="connsiteY108" fmla="*/ 57783 h 455929"/>
              <a:gd name="connsiteX109" fmla="*/ 225573 w 456085"/>
              <a:gd name="connsiteY109" fmla="*/ 55123 h 455929"/>
              <a:gd name="connsiteX110" fmla="*/ 211446 w 456085"/>
              <a:gd name="connsiteY110" fmla="*/ 40970 h 455929"/>
              <a:gd name="connsiteX111" fmla="*/ 225224 w 456085"/>
              <a:gd name="connsiteY111" fmla="*/ 27198 h 455929"/>
              <a:gd name="connsiteX112" fmla="*/ 237830 w 456085"/>
              <a:gd name="connsiteY112" fmla="*/ 247279 h 455929"/>
              <a:gd name="connsiteX113" fmla="*/ 237830 w 456085"/>
              <a:gd name="connsiteY113" fmla="*/ 248292 h 455929"/>
              <a:gd name="connsiteX114" fmla="*/ 251861 w 456085"/>
              <a:gd name="connsiteY114" fmla="*/ 262318 h 455929"/>
              <a:gd name="connsiteX115" fmla="*/ 238083 w 456085"/>
              <a:gd name="connsiteY115" fmla="*/ 276091 h 455929"/>
              <a:gd name="connsiteX116" fmla="*/ 199475 w 456085"/>
              <a:gd name="connsiteY116" fmla="*/ 237495 h 455929"/>
              <a:gd name="connsiteX117" fmla="*/ 238083 w 456085"/>
              <a:gd name="connsiteY117" fmla="*/ 198868 h 455929"/>
              <a:gd name="connsiteX118" fmla="*/ 251861 w 456085"/>
              <a:gd name="connsiteY118" fmla="*/ 212641 h 455929"/>
              <a:gd name="connsiteX119" fmla="*/ 236753 w 456085"/>
              <a:gd name="connsiteY119" fmla="*/ 227743 h 455929"/>
              <a:gd name="connsiteX120" fmla="*/ 309188 w 456085"/>
              <a:gd name="connsiteY120" fmla="*/ 149751 h 455929"/>
              <a:gd name="connsiteX121" fmla="*/ 276534 w 456085"/>
              <a:gd name="connsiteY121" fmla="*/ 90458 h 455929"/>
              <a:gd name="connsiteX122" fmla="*/ 287651 w 456085"/>
              <a:gd name="connsiteY122" fmla="*/ 74469 h 455929"/>
              <a:gd name="connsiteX123" fmla="*/ 311279 w 456085"/>
              <a:gd name="connsiteY123" fmla="*/ 206707 h 455929"/>
              <a:gd name="connsiteX124" fmla="*/ 237703 w 456085"/>
              <a:gd name="connsiteY124" fmla="*/ 247279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456085" h="455929">
                <a:moveTo>
                  <a:pt x="456086" y="0"/>
                </a:moveTo>
                <a:lnTo>
                  <a:pt x="0" y="0"/>
                </a:lnTo>
                <a:lnTo>
                  <a:pt x="0" y="455930"/>
                </a:lnTo>
                <a:lnTo>
                  <a:pt x="126184" y="455930"/>
                </a:lnTo>
                <a:lnTo>
                  <a:pt x="126184" y="455930"/>
                </a:lnTo>
                <a:lnTo>
                  <a:pt x="126184" y="455930"/>
                </a:lnTo>
                <a:lnTo>
                  <a:pt x="455864" y="455930"/>
                </a:lnTo>
                <a:close/>
                <a:moveTo>
                  <a:pt x="19447" y="432785"/>
                </a:moveTo>
                <a:cubicBezTo>
                  <a:pt x="35283" y="417144"/>
                  <a:pt x="132487" y="320829"/>
                  <a:pt x="141609" y="311679"/>
                </a:cubicBezTo>
                <a:cubicBezTo>
                  <a:pt x="143667" y="309621"/>
                  <a:pt x="145409" y="307784"/>
                  <a:pt x="146929" y="306138"/>
                </a:cubicBezTo>
                <a:cubicBezTo>
                  <a:pt x="152377" y="300281"/>
                  <a:pt x="152852" y="299806"/>
                  <a:pt x="157920" y="299806"/>
                </a:cubicBezTo>
                <a:lnTo>
                  <a:pt x="254711" y="299806"/>
                </a:lnTo>
                <a:lnTo>
                  <a:pt x="255915" y="299806"/>
                </a:lnTo>
                <a:cubicBezTo>
                  <a:pt x="255915" y="299806"/>
                  <a:pt x="269471" y="298507"/>
                  <a:pt x="272923" y="305156"/>
                </a:cubicBezTo>
                <a:cubicBezTo>
                  <a:pt x="275172" y="310194"/>
                  <a:pt x="274855" y="316001"/>
                  <a:pt x="272068" y="320766"/>
                </a:cubicBezTo>
                <a:cubicBezTo>
                  <a:pt x="271403" y="321899"/>
                  <a:pt x="270516" y="322881"/>
                  <a:pt x="269471" y="323647"/>
                </a:cubicBezTo>
                <a:cubicBezTo>
                  <a:pt x="265322" y="324689"/>
                  <a:pt x="261046" y="325053"/>
                  <a:pt x="256802" y="324723"/>
                </a:cubicBezTo>
                <a:lnTo>
                  <a:pt x="253033" y="324723"/>
                </a:lnTo>
                <a:lnTo>
                  <a:pt x="167232" y="324723"/>
                </a:lnTo>
                <a:lnTo>
                  <a:pt x="167232" y="344195"/>
                </a:lnTo>
                <a:lnTo>
                  <a:pt x="253033" y="344195"/>
                </a:lnTo>
                <a:lnTo>
                  <a:pt x="256200" y="344195"/>
                </a:lnTo>
                <a:cubicBezTo>
                  <a:pt x="259842" y="344373"/>
                  <a:pt x="263485" y="344265"/>
                  <a:pt x="267095" y="343879"/>
                </a:cubicBezTo>
                <a:cubicBezTo>
                  <a:pt x="270389" y="343863"/>
                  <a:pt x="273620" y="343151"/>
                  <a:pt x="276597" y="341789"/>
                </a:cubicBezTo>
                <a:cubicBezTo>
                  <a:pt x="287303" y="338370"/>
                  <a:pt x="299750" y="330518"/>
                  <a:pt x="315523" y="313009"/>
                </a:cubicBezTo>
                <a:cubicBezTo>
                  <a:pt x="341494" y="284260"/>
                  <a:pt x="370316" y="257727"/>
                  <a:pt x="381180" y="247754"/>
                </a:cubicBezTo>
                <a:lnTo>
                  <a:pt x="383904" y="245221"/>
                </a:lnTo>
                <a:cubicBezTo>
                  <a:pt x="387198" y="242308"/>
                  <a:pt x="391474" y="240737"/>
                  <a:pt x="395876" y="240820"/>
                </a:cubicBezTo>
                <a:cubicBezTo>
                  <a:pt x="398442" y="240946"/>
                  <a:pt x="400849" y="242197"/>
                  <a:pt x="402401" y="244239"/>
                </a:cubicBezTo>
                <a:cubicBezTo>
                  <a:pt x="408514" y="251711"/>
                  <a:pt x="402401" y="260830"/>
                  <a:pt x="400881" y="262286"/>
                </a:cubicBezTo>
                <a:cubicBezTo>
                  <a:pt x="398220" y="265009"/>
                  <a:pt x="383968" y="278877"/>
                  <a:pt x="367466" y="294961"/>
                </a:cubicBezTo>
                <a:cubicBezTo>
                  <a:pt x="339436" y="322222"/>
                  <a:pt x="304564" y="356132"/>
                  <a:pt x="298071" y="362939"/>
                </a:cubicBezTo>
                <a:lnTo>
                  <a:pt x="297818" y="363224"/>
                </a:lnTo>
                <a:cubicBezTo>
                  <a:pt x="292497" y="368828"/>
                  <a:pt x="284420" y="377282"/>
                  <a:pt x="268267" y="377282"/>
                </a:cubicBezTo>
                <a:lnTo>
                  <a:pt x="178697" y="377282"/>
                </a:lnTo>
                <a:lnTo>
                  <a:pt x="118519" y="436521"/>
                </a:lnTo>
                <a:lnTo>
                  <a:pt x="19574" y="436521"/>
                </a:lnTo>
                <a:close/>
                <a:moveTo>
                  <a:pt x="436639" y="436395"/>
                </a:moveTo>
                <a:lnTo>
                  <a:pt x="146169" y="436395"/>
                </a:lnTo>
                <a:lnTo>
                  <a:pt x="186647" y="396627"/>
                </a:lnTo>
                <a:lnTo>
                  <a:pt x="268489" y="396627"/>
                </a:lnTo>
                <a:cubicBezTo>
                  <a:pt x="285307" y="396691"/>
                  <a:pt x="301270" y="389332"/>
                  <a:pt x="312166" y="376522"/>
                </a:cubicBezTo>
                <a:lnTo>
                  <a:pt x="312419" y="376237"/>
                </a:lnTo>
                <a:cubicBezTo>
                  <a:pt x="318753" y="369715"/>
                  <a:pt x="354829" y="334475"/>
                  <a:pt x="381275" y="308766"/>
                </a:cubicBezTo>
                <a:cubicBezTo>
                  <a:pt x="398537" y="291953"/>
                  <a:pt x="412188" y="278687"/>
                  <a:pt x="414975" y="275838"/>
                </a:cubicBezTo>
                <a:cubicBezTo>
                  <a:pt x="423780" y="266909"/>
                  <a:pt x="430431" y="247342"/>
                  <a:pt x="417699" y="231796"/>
                </a:cubicBezTo>
                <a:cubicBezTo>
                  <a:pt x="412726" y="225578"/>
                  <a:pt x="405378" y="221756"/>
                  <a:pt x="397428" y="221284"/>
                </a:cubicBezTo>
                <a:cubicBezTo>
                  <a:pt x="387673" y="220809"/>
                  <a:pt x="378140" y="224226"/>
                  <a:pt x="370887" y="230783"/>
                </a:cubicBezTo>
                <a:lnTo>
                  <a:pt x="368194" y="233252"/>
                </a:lnTo>
                <a:cubicBezTo>
                  <a:pt x="357172" y="243416"/>
                  <a:pt x="327843" y="270392"/>
                  <a:pt x="301302" y="299742"/>
                </a:cubicBezTo>
                <a:cubicBezTo>
                  <a:pt x="298610" y="302687"/>
                  <a:pt x="296076" y="305283"/>
                  <a:pt x="293701" y="307594"/>
                </a:cubicBezTo>
                <a:cubicBezTo>
                  <a:pt x="293289" y="303545"/>
                  <a:pt x="292148" y="299606"/>
                  <a:pt x="290311" y="295975"/>
                </a:cubicBezTo>
                <a:cubicBezTo>
                  <a:pt x="282583" y="281157"/>
                  <a:pt x="264340" y="279067"/>
                  <a:pt x="254205" y="280144"/>
                </a:cubicBezTo>
                <a:lnTo>
                  <a:pt x="157920" y="280144"/>
                </a:lnTo>
                <a:cubicBezTo>
                  <a:pt x="144364" y="280144"/>
                  <a:pt x="138916" y="285938"/>
                  <a:pt x="132582" y="292808"/>
                </a:cubicBezTo>
                <a:cubicBezTo>
                  <a:pt x="131188" y="294296"/>
                  <a:pt x="129636" y="295975"/>
                  <a:pt x="127768" y="297843"/>
                </a:cubicBezTo>
                <a:cubicBezTo>
                  <a:pt x="120134" y="305441"/>
                  <a:pt x="51151" y="373831"/>
                  <a:pt x="19352" y="405303"/>
                </a:cubicBezTo>
                <a:lnTo>
                  <a:pt x="19352" y="19440"/>
                </a:lnTo>
                <a:lnTo>
                  <a:pt x="436544" y="19440"/>
                </a:lnTo>
                <a:close/>
                <a:moveTo>
                  <a:pt x="235075" y="145486"/>
                </a:moveTo>
                <a:lnTo>
                  <a:pt x="235075" y="131618"/>
                </a:lnTo>
                <a:cubicBezTo>
                  <a:pt x="237165" y="132717"/>
                  <a:pt x="238622" y="134753"/>
                  <a:pt x="238970" y="137096"/>
                </a:cubicBezTo>
                <a:lnTo>
                  <a:pt x="238970" y="137539"/>
                </a:lnTo>
                <a:lnTo>
                  <a:pt x="250341" y="136146"/>
                </a:lnTo>
                <a:lnTo>
                  <a:pt x="250341" y="135639"/>
                </a:lnTo>
                <a:cubicBezTo>
                  <a:pt x="249770" y="131995"/>
                  <a:pt x="247965" y="128651"/>
                  <a:pt x="245273" y="126141"/>
                </a:cubicBezTo>
                <a:cubicBezTo>
                  <a:pt x="242391" y="123731"/>
                  <a:pt x="238812" y="122249"/>
                  <a:pt x="235075" y="121898"/>
                </a:cubicBezTo>
                <a:lnTo>
                  <a:pt x="235075" y="118035"/>
                </a:lnTo>
                <a:lnTo>
                  <a:pt x="228106" y="118035"/>
                </a:lnTo>
                <a:lnTo>
                  <a:pt x="228106" y="121898"/>
                </a:lnTo>
                <a:cubicBezTo>
                  <a:pt x="223926" y="122230"/>
                  <a:pt x="219967" y="124010"/>
                  <a:pt x="216957" y="126932"/>
                </a:cubicBezTo>
                <a:cubicBezTo>
                  <a:pt x="214076" y="129832"/>
                  <a:pt x="212492" y="133774"/>
                  <a:pt x="212587" y="137855"/>
                </a:cubicBezTo>
                <a:cubicBezTo>
                  <a:pt x="212492" y="141848"/>
                  <a:pt x="213854" y="145736"/>
                  <a:pt x="216451" y="148779"/>
                </a:cubicBezTo>
                <a:cubicBezTo>
                  <a:pt x="219618" y="152059"/>
                  <a:pt x="223672" y="154348"/>
                  <a:pt x="228106" y="155364"/>
                </a:cubicBezTo>
                <a:lnTo>
                  <a:pt x="228106" y="170277"/>
                </a:lnTo>
                <a:cubicBezTo>
                  <a:pt x="226903" y="169577"/>
                  <a:pt x="225826" y="168653"/>
                  <a:pt x="224939" y="167554"/>
                </a:cubicBezTo>
                <a:cubicBezTo>
                  <a:pt x="223767" y="166063"/>
                  <a:pt x="222944" y="164318"/>
                  <a:pt x="222564" y="162457"/>
                </a:cubicBezTo>
                <a:lnTo>
                  <a:pt x="222564" y="162013"/>
                </a:lnTo>
                <a:lnTo>
                  <a:pt x="210845" y="163217"/>
                </a:lnTo>
                <a:lnTo>
                  <a:pt x="210845" y="163723"/>
                </a:lnTo>
                <a:cubicBezTo>
                  <a:pt x="211383" y="168257"/>
                  <a:pt x="213410" y="172481"/>
                  <a:pt x="216641" y="175723"/>
                </a:cubicBezTo>
                <a:cubicBezTo>
                  <a:pt x="219808" y="178557"/>
                  <a:pt x="223767" y="180320"/>
                  <a:pt x="227980" y="180757"/>
                </a:cubicBezTo>
                <a:lnTo>
                  <a:pt x="227980" y="187818"/>
                </a:lnTo>
                <a:lnTo>
                  <a:pt x="234948" y="187818"/>
                </a:lnTo>
                <a:lnTo>
                  <a:pt x="234948" y="180567"/>
                </a:lnTo>
                <a:cubicBezTo>
                  <a:pt x="239635" y="180048"/>
                  <a:pt x="243974" y="177949"/>
                  <a:pt x="247300" y="174615"/>
                </a:cubicBezTo>
                <a:cubicBezTo>
                  <a:pt x="250341" y="171347"/>
                  <a:pt x="251988" y="167019"/>
                  <a:pt x="251892" y="162552"/>
                </a:cubicBezTo>
                <a:cubicBezTo>
                  <a:pt x="252051" y="158711"/>
                  <a:pt x="250721" y="154956"/>
                  <a:pt x="248218" y="152040"/>
                </a:cubicBezTo>
                <a:cubicBezTo>
                  <a:pt x="244513" y="148687"/>
                  <a:pt x="239984" y="146420"/>
                  <a:pt x="235075" y="145486"/>
                </a:cubicBezTo>
                <a:close/>
                <a:moveTo>
                  <a:pt x="228106" y="143270"/>
                </a:moveTo>
                <a:cubicBezTo>
                  <a:pt x="226934" y="142754"/>
                  <a:pt x="225889" y="141946"/>
                  <a:pt x="225098" y="140927"/>
                </a:cubicBezTo>
                <a:cubicBezTo>
                  <a:pt x="224306" y="139926"/>
                  <a:pt x="223862" y="138688"/>
                  <a:pt x="223862" y="137412"/>
                </a:cubicBezTo>
                <a:cubicBezTo>
                  <a:pt x="223862" y="136032"/>
                  <a:pt x="224337" y="134692"/>
                  <a:pt x="225193" y="133613"/>
                </a:cubicBezTo>
                <a:cubicBezTo>
                  <a:pt x="225984" y="132657"/>
                  <a:pt x="226966" y="131906"/>
                  <a:pt x="228106" y="131428"/>
                </a:cubicBezTo>
                <a:close/>
                <a:moveTo>
                  <a:pt x="239160" y="168599"/>
                </a:moveTo>
                <a:cubicBezTo>
                  <a:pt x="238083" y="169802"/>
                  <a:pt x="236658" y="170641"/>
                  <a:pt x="235075" y="171005"/>
                </a:cubicBezTo>
                <a:lnTo>
                  <a:pt x="235075" y="157264"/>
                </a:lnTo>
                <a:cubicBezTo>
                  <a:pt x="236721" y="157688"/>
                  <a:pt x="238242" y="158553"/>
                  <a:pt x="239445" y="159765"/>
                </a:cubicBezTo>
                <a:cubicBezTo>
                  <a:pt x="240459" y="160912"/>
                  <a:pt x="240997" y="162390"/>
                  <a:pt x="240966" y="163913"/>
                </a:cubicBezTo>
                <a:cubicBezTo>
                  <a:pt x="240997" y="165661"/>
                  <a:pt x="240364" y="167355"/>
                  <a:pt x="239160" y="168631"/>
                </a:cubicBezTo>
                <a:close/>
                <a:moveTo>
                  <a:pt x="263833" y="65793"/>
                </a:moveTo>
                <a:lnTo>
                  <a:pt x="225224" y="104389"/>
                </a:lnTo>
                <a:lnTo>
                  <a:pt x="211446" y="90616"/>
                </a:lnTo>
                <a:lnTo>
                  <a:pt x="224559" y="77508"/>
                </a:lnTo>
                <a:cubicBezTo>
                  <a:pt x="186457" y="82112"/>
                  <a:pt x="157762" y="114397"/>
                  <a:pt x="157666" y="152768"/>
                </a:cubicBezTo>
                <a:cubicBezTo>
                  <a:pt x="157730" y="174349"/>
                  <a:pt x="167137" y="194844"/>
                  <a:pt x="183448" y="208968"/>
                </a:cubicBezTo>
                <a:lnTo>
                  <a:pt x="172204" y="225147"/>
                </a:lnTo>
                <a:cubicBezTo>
                  <a:pt x="150635" y="207296"/>
                  <a:pt x="138156" y="180764"/>
                  <a:pt x="138124" y="152768"/>
                </a:cubicBezTo>
                <a:cubicBezTo>
                  <a:pt x="138061" y="103062"/>
                  <a:pt x="176290" y="61687"/>
                  <a:pt x="225858" y="57783"/>
                </a:cubicBezTo>
                <a:lnTo>
                  <a:pt x="225573" y="55123"/>
                </a:lnTo>
                <a:lnTo>
                  <a:pt x="211446" y="40970"/>
                </a:lnTo>
                <a:lnTo>
                  <a:pt x="225224" y="27198"/>
                </a:lnTo>
                <a:close/>
                <a:moveTo>
                  <a:pt x="237830" y="247279"/>
                </a:moveTo>
                <a:lnTo>
                  <a:pt x="237830" y="248292"/>
                </a:lnTo>
                <a:lnTo>
                  <a:pt x="251861" y="262318"/>
                </a:lnTo>
                <a:lnTo>
                  <a:pt x="238083" y="276091"/>
                </a:lnTo>
                <a:lnTo>
                  <a:pt x="199475" y="237495"/>
                </a:lnTo>
                <a:lnTo>
                  <a:pt x="238083" y="198868"/>
                </a:lnTo>
                <a:lnTo>
                  <a:pt x="251861" y="212641"/>
                </a:lnTo>
                <a:lnTo>
                  <a:pt x="236753" y="227743"/>
                </a:lnTo>
                <a:cubicBezTo>
                  <a:pt x="278307" y="226208"/>
                  <a:pt x="310740" y="191288"/>
                  <a:pt x="309188" y="149751"/>
                </a:cubicBezTo>
                <a:cubicBezTo>
                  <a:pt x="308333" y="125932"/>
                  <a:pt x="296202" y="103936"/>
                  <a:pt x="276534" y="90458"/>
                </a:cubicBezTo>
                <a:lnTo>
                  <a:pt x="287651" y="74469"/>
                </a:lnTo>
                <a:cubicBezTo>
                  <a:pt x="330694" y="104465"/>
                  <a:pt x="341273" y="163669"/>
                  <a:pt x="311279" y="206707"/>
                </a:cubicBezTo>
                <a:cubicBezTo>
                  <a:pt x="294397" y="230922"/>
                  <a:pt x="267190" y="245917"/>
                  <a:pt x="237703" y="247279"/>
                </a:cubicBezTo>
                <a:close/>
              </a:path>
            </a:pathLst>
          </a:custGeom>
          <a:solidFill>
            <a:srgbClr val="000000"/>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46" name="Freeform 31">
            <a:extLst>
              <a:ext uri="{FF2B5EF4-FFF2-40B4-BE49-F238E27FC236}">
                <a16:creationId xmlns:a16="http://schemas.microsoft.com/office/drawing/2014/main" id="{06CC502C-F075-A941-A1E7-49040EC7A522}"/>
              </a:ext>
            </a:extLst>
          </p:cNvPr>
          <p:cNvSpPr>
            <a:spLocks noChangeAspect="1" noEditPoints="1"/>
          </p:cNvSpPr>
          <p:nvPr/>
        </p:nvSpPr>
        <p:spPr bwMode="auto">
          <a:xfrm>
            <a:off x="484533" y="4562775"/>
            <a:ext cx="258763" cy="26035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a:solidFill>
                <a:schemeClr val="accent1"/>
              </a:solidFill>
            </a:endParaRPr>
          </a:p>
        </p:txBody>
      </p:sp>
      <p:sp>
        <p:nvSpPr>
          <p:cNvPr id="47" name="Freeform 65">
            <a:extLst>
              <a:ext uri="{FF2B5EF4-FFF2-40B4-BE49-F238E27FC236}">
                <a16:creationId xmlns:a16="http://schemas.microsoft.com/office/drawing/2014/main" id="{BA6BCE1C-3788-C441-AC30-7A234B2A8847}"/>
              </a:ext>
            </a:extLst>
          </p:cNvPr>
          <p:cNvSpPr>
            <a:spLocks noChangeAspect="1" noEditPoints="1"/>
          </p:cNvSpPr>
          <p:nvPr/>
        </p:nvSpPr>
        <p:spPr bwMode="auto">
          <a:xfrm>
            <a:off x="484533" y="5000199"/>
            <a:ext cx="258763" cy="260350"/>
          </a:xfrm>
          <a:custGeom>
            <a:avLst/>
            <a:gdLst>
              <a:gd name="T0" fmla="*/ 576 w 576"/>
              <a:gd name="T1" fmla="*/ 0 h 576"/>
              <a:gd name="T2" fmla="*/ 540 w 576"/>
              <a:gd name="T3" fmla="*/ 401 h 576"/>
              <a:gd name="T4" fmla="*/ 472 w 576"/>
              <a:gd name="T5" fmla="*/ 398 h 576"/>
              <a:gd name="T6" fmla="*/ 404 w 576"/>
              <a:gd name="T7" fmla="*/ 401 h 576"/>
              <a:gd name="T8" fmla="*/ 319 w 576"/>
              <a:gd name="T9" fmla="*/ 388 h 576"/>
              <a:gd name="T10" fmla="*/ 257 w 576"/>
              <a:gd name="T11" fmla="*/ 388 h 576"/>
              <a:gd name="T12" fmla="*/ 172 w 576"/>
              <a:gd name="T13" fmla="*/ 401 h 576"/>
              <a:gd name="T14" fmla="*/ 104 w 576"/>
              <a:gd name="T15" fmla="*/ 398 h 576"/>
              <a:gd name="T16" fmla="*/ 36 w 576"/>
              <a:gd name="T17" fmla="*/ 401 h 576"/>
              <a:gd name="T18" fmla="*/ 208 w 576"/>
              <a:gd name="T19" fmla="*/ 471 h 576"/>
              <a:gd name="T20" fmla="*/ 264 w 576"/>
              <a:gd name="T21" fmla="*/ 411 h 576"/>
              <a:gd name="T22" fmla="*/ 348 w 576"/>
              <a:gd name="T23" fmla="*/ 424 h 576"/>
              <a:gd name="T24" fmla="*/ 208 w 576"/>
              <a:gd name="T25" fmla="*/ 552 h 576"/>
              <a:gd name="T26" fmla="*/ 44 w 576"/>
              <a:gd name="T27" fmla="*/ 424 h 576"/>
              <a:gd name="T28" fmla="*/ 128 w 576"/>
              <a:gd name="T29" fmla="*/ 411 h 576"/>
              <a:gd name="T30" fmla="*/ 184 w 576"/>
              <a:gd name="T31" fmla="*/ 471 h 576"/>
              <a:gd name="T32" fmla="*/ 392 w 576"/>
              <a:gd name="T33" fmla="*/ 552 h 576"/>
              <a:gd name="T34" fmla="*/ 447 w 576"/>
              <a:gd name="T35" fmla="*/ 412 h 576"/>
              <a:gd name="T36" fmla="*/ 496 w 576"/>
              <a:gd name="T37" fmla="*/ 412 h 576"/>
              <a:gd name="T38" fmla="*/ 551 w 576"/>
              <a:gd name="T39" fmla="*/ 552 h 576"/>
              <a:gd name="T40" fmla="*/ 147 w 576"/>
              <a:gd name="T41" fmla="*/ 328 h 576"/>
              <a:gd name="T42" fmla="*/ 136 w 576"/>
              <a:gd name="T43" fmla="*/ 235 h 576"/>
              <a:gd name="T44" fmla="*/ 220 w 576"/>
              <a:gd name="T45" fmla="*/ 223 h 576"/>
              <a:gd name="T46" fmla="*/ 275 w 576"/>
              <a:gd name="T47" fmla="*/ 279 h 576"/>
              <a:gd name="T48" fmla="*/ 288 w 576"/>
              <a:gd name="T49" fmla="*/ 387 h 576"/>
              <a:gd name="T50" fmla="*/ 304 w 576"/>
              <a:gd name="T51" fmla="*/ 252 h 576"/>
              <a:gd name="T52" fmla="*/ 380 w 576"/>
              <a:gd name="T53" fmla="*/ 234 h 576"/>
              <a:gd name="T54" fmla="*/ 455 w 576"/>
              <a:gd name="T55" fmla="*/ 252 h 576"/>
              <a:gd name="T56" fmla="*/ 472 w 576"/>
              <a:gd name="T57" fmla="*/ 387 h 576"/>
              <a:gd name="T58" fmla="*/ 484 w 576"/>
              <a:gd name="T59" fmla="*/ 278 h 576"/>
              <a:gd name="T60" fmla="*/ 411 w 576"/>
              <a:gd name="T61" fmla="*/ 200 h 576"/>
              <a:gd name="T62" fmla="*/ 348 w 576"/>
              <a:gd name="T63" fmla="*/ 200 h 576"/>
              <a:gd name="T64" fmla="*/ 264 w 576"/>
              <a:gd name="T65" fmla="*/ 212 h 576"/>
              <a:gd name="T66" fmla="*/ 196 w 576"/>
              <a:gd name="T67" fmla="*/ 209 h 576"/>
              <a:gd name="T68" fmla="*/ 128 w 576"/>
              <a:gd name="T69" fmla="*/ 212 h 576"/>
              <a:gd name="T70" fmla="*/ 62 w 576"/>
              <a:gd name="T71" fmla="*/ 328 h 576"/>
              <a:gd name="T72" fmla="*/ 472 w 576"/>
              <a:gd name="T73" fmla="*/ 362 h 576"/>
              <a:gd name="T74" fmla="*/ 472 w 576"/>
              <a:gd name="T75" fmla="*/ 301 h 576"/>
              <a:gd name="T76" fmla="*/ 288 w 576"/>
              <a:gd name="T77" fmla="*/ 362 h 576"/>
              <a:gd name="T78" fmla="*/ 288 w 576"/>
              <a:gd name="T79" fmla="*/ 301 h 576"/>
              <a:gd name="T80" fmla="*/ 92 w 576"/>
              <a:gd name="T81" fmla="*/ 307 h 576"/>
              <a:gd name="T82" fmla="*/ 122 w 576"/>
              <a:gd name="T83" fmla="*/ 326 h 576"/>
              <a:gd name="T84" fmla="*/ 92 w 576"/>
              <a:gd name="T85" fmla="*/ 307 h 576"/>
              <a:gd name="T86" fmla="*/ 227 w 576"/>
              <a:gd name="T87" fmla="*/ 102 h 576"/>
              <a:gd name="T88" fmla="*/ 154 w 576"/>
              <a:gd name="T89" fmla="*/ 140 h 576"/>
              <a:gd name="T90" fmla="*/ 197 w 576"/>
              <a:gd name="T91" fmla="*/ 112 h 576"/>
              <a:gd name="T92" fmla="*/ 196 w 576"/>
              <a:gd name="T93" fmla="*/ 173 h 576"/>
              <a:gd name="T94" fmla="*/ 380 w 576"/>
              <a:gd name="T95" fmla="*/ 198 h 576"/>
              <a:gd name="T96" fmla="*/ 380 w 576"/>
              <a:gd name="T97" fmla="*/ 88 h 576"/>
              <a:gd name="T98" fmla="*/ 368 w 576"/>
              <a:gd name="T99" fmla="*/ 118 h 576"/>
              <a:gd name="T100" fmla="*/ 398 w 576"/>
              <a:gd name="T101" fmla="*/ 138 h 576"/>
              <a:gd name="T102" fmla="*/ 368 w 576"/>
              <a:gd name="T103" fmla="*/ 11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moveTo>
                  <a:pt x="104" y="387"/>
                </a:moveTo>
                <a:cubicBezTo>
                  <a:pt x="105" y="387"/>
                  <a:pt x="105" y="387"/>
                  <a:pt x="105" y="387"/>
                </a:cubicBezTo>
                <a:cubicBezTo>
                  <a:pt x="123" y="387"/>
                  <a:pt x="144" y="369"/>
                  <a:pt x="147" y="328"/>
                </a:cubicBezTo>
                <a:cubicBezTo>
                  <a:pt x="148" y="309"/>
                  <a:pt x="141" y="297"/>
                  <a:pt x="135" y="290"/>
                </a:cubicBezTo>
                <a:cubicBezTo>
                  <a:pt x="129" y="284"/>
                  <a:pt x="123" y="281"/>
                  <a:pt x="117" y="279"/>
                </a:cubicBezTo>
                <a:cubicBezTo>
                  <a:pt x="118" y="272"/>
                  <a:pt x="120" y="260"/>
                  <a:pt x="121" y="252"/>
                </a:cubicBezTo>
                <a:cubicBezTo>
                  <a:pt x="121" y="247"/>
                  <a:pt x="126" y="239"/>
                  <a:pt x="136" y="235"/>
                </a:cubicBezTo>
                <a:cubicBezTo>
                  <a:pt x="148" y="231"/>
                  <a:pt x="164" y="226"/>
                  <a:pt x="172" y="223"/>
                </a:cubicBezTo>
                <a:cubicBezTo>
                  <a:pt x="172" y="223"/>
                  <a:pt x="172" y="223"/>
                  <a:pt x="172" y="223"/>
                </a:cubicBezTo>
                <a:cubicBezTo>
                  <a:pt x="178" y="230"/>
                  <a:pt x="186" y="234"/>
                  <a:pt x="196" y="234"/>
                </a:cubicBezTo>
                <a:cubicBezTo>
                  <a:pt x="206" y="234"/>
                  <a:pt x="214" y="230"/>
                  <a:pt x="220" y="223"/>
                </a:cubicBezTo>
                <a:cubicBezTo>
                  <a:pt x="221" y="223"/>
                  <a:pt x="221" y="223"/>
                  <a:pt x="221" y="223"/>
                </a:cubicBezTo>
                <a:cubicBezTo>
                  <a:pt x="228" y="226"/>
                  <a:pt x="244" y="231"/>
                  <a:pt x="256" y="235"/>
                </a:cubicBezTo>
                <a:cubicBezTo>
                  <a:pt x="267" y="239"/>
                  <a:pt x="271" y="247"/>
                  <a:pt x="272" y="252"/>
                </a:cubicBezTo>
                <a:cubicBezTo>
                  <a:pt x="272" y="260"/>
                  <a:pt x="274" y="272"/>
                  <a:pt x="275" y="279"/>
                </a:cubicBezTo>
                <a:cubicBezTo>
                  <a:pt x="269" y="281"/>
                  <a:pt x="263" y="285"/>
                  <a:pt x="258" y="290"/>
                </a:cubicBezTo>
                <a:cubicBezTo>
                  <a:pt x="252" y="297"/>
                  <a:pt x="245" y="309"/>
                  <a:pt x="246" y="328"/>
                </a:cubicBezTo>
                <a:cubicBezTo>
                  <a:pt x="249" y="369"/>
                  <a:pt x="269" y="387"/>
                  <a:pt x="288" y="387"/>
                </a:cubicBezTo>
                <a:cubicBezTo>
                  <a:pt x="288" y="387"/>
                  <a:pt x="288" y="387"/>
                  <a:pt x="288" y="387"/>
                </a:cubicBezTo>
                <a:cubicBezTo>
                  <a:pt x="307" y="387"/>
                  <a:pt x="327" y="369"/>
                  <a:pt x="330" y="328"/>
                </a:cubicBezTo>
                <a:cubicBezTo>
                  <a:pt x="332" y="309"/>
                  <a:pt x="325" y="297"/>
                  <a:pt x="318" y="290"/>
                </a:cubicBezTo>
                <a:cubicBezTo>
                  <a:pt x="313" y="284"/>
                  <a:pt x="307" y="281"/>
                  <a:pt x="301" y="279"/>
                </a:cubicBezTo>
                <a:cubicBezTo>
                  <a:pt x="302" y="272"/>
                  <a:pt x="304" y="260"/>
                  <a:pt x="304" y="252"/>
                </a:cubicBezTo>
                <a:cubicBezTo>
                  <a:pt x="305" y="247"/>
                  <a:pt x="309" y="239"/>
                  <a:pt x="320" y="235"/>
                </a:cubicBezTo>
                <a:cubicBezTo>
                  <a:pt x="332" y="231"/>
                  <a:pt x="348" y="226"/>
                  <a:pt x="356" y="223"/>
                </a:cubicBezTo>
                <a:cubicBezTo>
                  <a:pt x="356" y="223"/>
                  <a:pt x="356" y="223"/>
                  <a:pt x="356" y="223"/>
                </a:cubicBezTo>
                <a:cubicBezTo>
                  <a:pt x="362" y="230"/>
                  <a:pt x="370" y="234"/>
                  <a:pt x="380" y="234"/>
                </a:cubicBezTo>
                <a:cubicBezTo>
                  <a:pt x="390" y="234"/>
                  <a:pt x="398" y="230"/>
                  <a:pt x="404" y="223"/>
                </a:cubicBezTo>
                <a:cubicBezTo>
                  <a:pt x="404" y="223"/>
                  <a:pt x="404" y="223"/>
                  <a:pt x="404" y="223"/>
                </a:cubicBezTo>
                <a:cubicBezTo>
                  <a:pt x="412" y="226"/>
                  <a:pt x="428" y="231"/>
                  <a:pt x="440" y="235"/>
                </a:cubicBezTo>
                <a:cubicBezTo>
                  <a:pt x="450" y="239"/>
                  <a:pt x="455" y="247"/>
                  <a:pt x="455" y="252"/>
                </a:cubicBezTo>
                <a:cubicBezTo>
                  <a:pt x="456" y="260"/>
                  <a:pt x="458" y="272"/>
                  <a:pt x="459" y="279"/>
                </a:cubicBezTo>
                <a:cubicBezTo>
                  <a:pt x="453" y="281"/>
                  <a:pt x="447" y="285"/>
                  <a:pt x="442" y="290"/>
                </a:cubicBezTo>
                <a:cubicBezTo>
                  <a:pt x="436" y="297"/>
                  <a:pt x="428" y="309"/>
                  <a:pt x="430" y="328"/>
                </a:cubicBezTo>
                <a:cubicBezTo>
                  <a:pt x="433" y="369"/>
                  <a:pt x="453" y="387"/>
                  <a:pt x="472" y="387"/>
                </a:cubicBezTo>
                <a:cubicBezTo>
                  <a:pt x="472" y="387"/>
                  <a:pt x="472" y="387"/>
                  <a:pt x="472" y="387"/>
                </a:cubicBezTo>
                <a:cubicBezTo>
                  <a:pt x="491" y="387"/>
                  <a:pt x="511" y="369"/>
                  <a:pt x="514" y="328"/>
                </a:cubicBezTo>
                <a:cubicBezTo>
                  <a:pt x="516" y="309"/>
                  <a:pt x="509" y="297"/>
                  <a:pt x="502" y="290"/>
                </a:cubicBezTo>
                <a:cubicBezTo>
                  <a:pt x="497" y="284"/>
                  <a:pt x="490" y="280"/>
                  <a:pt x="484" y="278"/>
                </a:cubicBezTo>
                <a:cubicBezTo>
                  <a:pt x="483" y="274"/>
                  <a:pt x="481" y="258"/>
                  <a:pt x="480" y="249"/>
                </a:cubicBezTo>
                <a:cubicBezTo>
                  <a:pt x="478" y="233"/>
                  <a:pt x="466" y="219"/>
                  <a:pt x="448" y="212"/>
                </a:cubicBezTo>
                <a:cubicBezTo>
                  <a:pt x="436" y="208"/>
                  <a:pt x="420" y="203"/>
                  <a:pt x="412" y="200"/>
                </a:cubicBezTo>
                <a:cubicBezTo>
                  <a:pt x="411" y="200"/>
                  <a:pt x="411" y="200"/>
                  <a:pt x="411" y="200"/>
                </a:cubicBezTo>
                <a:cubicBezTo>
                  <a:pt x="397" y="195"/>
                  <a:pt x="389" y="201"/>
                  <a:pt x="385" y="207"/>
                </a:cubicBezTo>
                <a:cubicBezTo>
                  <a:pt x="384" y="209"/>
                  <a:pt x="383" y="209"/>
                  <a:pt x="380" y="209"/>
                </a:cubicBezTo>
                <a:cubicBezTo>
                  <a:pt x="377" y="209"/>
                  <a:pt x="376" y="209"/>
                  <a:pt x="375" y="207"/>
                </a:cubicBezTo>
                <a:cubicBezTo>
                  <a:pt x="371" y="201"/>
                  <a:pt x="363" y="195"/>
                  <a:pt x="348" y="200"/>
                </a:cubicBezTo>
                <a:cubicBezTo>
                  <a:pt x="348" y="200"/>
                  <a:pt x="348" y="200"/>
                  <a:pt x="348" y="200"/>
                </a:cubicBezTo>
                <a:cubicBezTo>
                  <a:pt x="340" y="203"/>
                  <a:pt x="324" y="208"/>
                  <a:pt x="312" y="212"/>
                </a:cubicBezTo>
                <a:cubicBezTo>
                  <a:pt x="302" y="216"/>
                  <a:pt x="294" y="222"/>
                  <a:pt x="288" y="229"/>
                </a:cubicBezTo>
                <a:cubicBezTo>
                  <a:pt x="282" y="222"/>
                  <a:pt x="274" y="216"/>
                  <a:pt x="264" y="212"/>
                </a:cubicBezTo>
                <a:cubicBezTo>
                  <a:pt x="252" y="208"/>
                  <a:pt x="236" y="203"/>
                  <a:pt x="228" y="200"/>
                </a:cubicBezTo>
                <a:cubicBezTo>
                  <a:pt x="228" y="200"/>
                  <a:pt x="228" y="200"/>
                  <a:pt x="228" y="200"/>
                </a:cubicBezTo>
                <a:cubicBezTo>
                  <a:pt x="213" y="195"/>
                  <a:pt x="205" y="201"/>
                  <a:pt x="201" y="207"/>
                </a:cubicBezTo>
                <a:cubicBezTo>
                  <a:pt x="200" y="209"/>
                  <a:pt x="199" y="209"/>
                  <a:pt x="196" y="209"/>
                </a:cubicBezTo>
                <a:cubicBezTo>
                  <a:pt x="193" y="209"/>
                  <a:pt x="192" y="209"/>
                  <a:pt x="191" y="207"/>
                </a:cubicBezTo>
                <a:cubicBezTo>
                  <a:pt x="187" y="201"/>
                  <a:pt x="179" y="195"/>
                  <a:pt x="165" y="200"/>
                </a:cubicBezTo>
                <a:cubicBezTo>
                  <a:pt x="164" y="200"/>
                  <a:pt x="164" y="200"/>
                  <a:pt x="164" y="200"/>
                </a:cubicBezTo>
                <a:cubicBezTo>
                  <a:pt x="156" y="203"/>
                  <a:pt x="140" y="208"/>
                  <a:pt x="128" y="212"/>
                </a:cubicBezTo>
                <a:cubicBezTo>
                  <a:pt x="110" y="219"/>
                  <a:pt x="98" y="233"/>
                  <a:pt x="96" y="249"/>
                </a:cubicBezTo>
                <a:cubicBezTo>
                  <a:pt x="95" y="258"/>
                  <a:pt x="93" y="274"/>
                  <a:pt x="92" y="278"/>
                </a:cubicBezTo>
                <a:cubicBezTo>
                  <a:pt x="86" y="281"/>
                  <a:pt x="80" y="284"/>
                  <a:pt x="74" y="290"/>
                </a:cubicBezTo>
                <a:cubicBezTo>
                  <a:pt x="68" y="297"/>
                  <a:pt x="61" y="309"/>
                  <a:pt x="62" y="328"/>
                </a:cubicBezTo>
                <a:cubicBezTo>
                  <a:pt x="65" y="369"/>
                  <a:pt x="85" y="387"/>
                  <a:pt x="104" y="387"/>
                </a:cubicBezTo>
                <a:close/>
                <a:moveTo>
                  <a:pt x="490" y="326"/>
                </a:moveTo>
                <a:cubicBezTo>
                  <a:pt x="488" y="351"/>
                  <a:pt x="478" y="362"/>
                  <a:pt x="472" y="362"/>
                </a:cubicBezTo>
                <a:cubicBezTo>
                  <a:pt x="472" y="362"/>
                  <a:pt x="472" y="362"/>
                  <a:pt x="472" y="362"/>
                </a:cubicBezTo>
                <a:cubicBezTo>
                  <a:pt x="466" y="362"/>
                  <a:pt x="456" y="351"/>
                  <a:pt x="454" y="326"/>
                </a:cubicBezTo>
                <a:cubicBezTo>
                  <a:pt x="454" y="318"/>
                  <a:pt x="456" y="311"/>
                  <a:pt x="460" y="307"/>
                </a:cubicBezTo>
                <a:cubicBezTo>
                  <a:pt x="464" y="302"/>
                  <a:pt x="470" y="301"/>
                  <a:pt x="472" y="301"/>
                </a:cubicBezTo>
                <a:cubicBezTo>
                  <a:pt x="472" y="301"/>
                  <a:pt x="472" y="301"/>
                  <a:pt x="472" y="301"/>
                </a:cubicBezTo>
                <a:cubicBezTo>
                  <a:pt x="474" y="301"/>
                  <a:pt x="480" y="302"/>
                  <a:pt x="484" y="307"/>
                </a:cubicBezTo>
                <a:cubicBezTo>
                  <a:pt x="489" y="311"/>
                  <a:pt x="490" y="318"/>
                  <a:pt x="490" y="326"/>
                </a:cubicBezTo>
                <a:close/>
                <a:moveTo>
                  <a:pt x="306" y="326"/>
                </a:moveTo>
                <a:cubicBezTo>
                  <a:pt x="304" y="351"/>
                  <a:pt x="295" y="362"/>
                  <a:pt x="288" y="362"/>
                </a:cubicBezTo>
                <a:cubicBezTo>
                  <a:pt x="288" y="362"/>
                  <a:pt x="288" y="362"/>
                  <a:pt x="288" y="362"/>
                </a:cubicBezTo>
                <a:cubicBezTo>
                  <a:pt x="282" y="362"/>
                  <a:pt x="272" y="351"/>
                  <a:pt x="271" y="326"/>
                </a:cubicBezTo>
                <a:cubicBezTo>
                  <a:pt x="270" y="318"/>
                  <a:pt x="272" y="311"/>
                  <a:pt x="276" y="307"/>
                </a:cubicBezTo>
                <a:cubicBezTo>
                  <a:pt x="280" y="302"/>
                  <a:pt x="286" y="301"/>
                  <a:pt x="288" y="301"/>
                </a:cubicBezTo>
                <a:cubicBezTo>
                  <a:pt x="288" y="301"/>
                  <a:pt x="288" y="301"/>
                  <a:pt x="288" y="301"/>
                </a:cubicBezTo>
                <a:cubicBezTo>
                  <a:pt x="290" y="301"/>
                  <a:pt x="296" y="302"/>
                  <a:pt x="300" y="307"/>
                </a:cubicBezTo>
                <a:cubicBezTo>
                  <a:pt x="305" y="311"/>
                  <a:pt x="306" y="318"/>
                  <a:pt x="306" y="326"/>
                </a:cubicBezTo>
                <a:close/>
                <a:moveTo>
                  <a:pt x="92" y="307"/>
                </a:moveTo>
                <a:cubicBezTo>
                  <a:pt x="96" y="302"/>
                  <a:pt x="102" y="301"/>
                  <a:pt x="104" y="301"/>
                </a:cubicBezTo>
                <a:cubicBezTo>
                  <a:pt x="105" y="301"/>
                  <a:pt x="105" y="301"/>
                  <a:pt x="105" y="301"/>
                </a:cubicBezTo>
                <a:cubicBezTo>
                  <a:pt x="107" y="301"/>
                  <a:pt x="112" y="302"/>
                  <a:pt x="117" y="307"/>
                </a:cubicBezTo>
                <a:cubicBezTo>
                  <a:pt x="121" y="311"/>
                  <a:pt x="123" y="318"/>
                  <a:pt x="122" y="326"/>
                </a:cubicBezTo>
                <a:cubicBezTo>
                  <a:pt x="120" y="351"/>
                  <a:pt x="111" y="362"/>
                  <a:pt x="105" y="362"/>
                </a:cubicBezTo>
                <a:cubicBezTo>
                  <a:pt x="104" y="362"/>
                  <a:pt x="104" y="362"/>
                  <a:pt x="104" y="362"/>
                </a:cubicBezTo>
                <a:cubicBezTo>
                  <a:pt x="98" y="362"/>
                  <a:pt x="88" y="351"/>
                  <a:pt x="87" y="326"/>
                </a:cubicBezTo>
                <a:cubicBezTo>
                  <a:pt x="86" y="318"/>
                  <a:pt x="88" y="311"/>
                  <a:pt x="92" y="307"/>
                </a:cubicBezTo>
                <a:close/>
                <a:moveTo>
                  <a:pt x="196" y="198"/>
                </a:moveTo>
                <a:cubicBezTo>
                  <a:pt x="197" y="198"/>
                  <a:pt x="197" y="198"/>
                  <a:pt x="197" y="198"/>
                </a:cubicBezTo>
                <a:cubicBezTo>
                  <a:pt x="215" y="198"/>
                  <a:pt x="236" y="180"/>
                  <a:pt x="238" y="140"/>
                </a:cubicBezTo>
                <a:cubicBezTo>
                  <a:pt x="240" y="120"/>
                  <a:pt x="233" y="108"/>
                  <a:pt x="227" y="102"/>
                </a:cubicBezTo>
                <a:cubicBezTo>
                  <a:pt x="217" y="91"/>
                  <a:pt x="204" y="88"/>
                  <a:pt x="197" y="88"/>
                </a:cubicBezTo>
                <a:cubicBezTo>
                  <a:pt x="196" y="88"/>
                  <a:pt x="196" y="88"/>
                  <a:pt x="196" y="88"/>
                </a:cubicBezTo>
                <a:cubicBezTo>
                  <a:pt x="188" y="88"/>
                  <a:pt x="176" y="91"/>
                  <a:pt x="166" y="102"/>
                </a:cubicBezTo>
                <a:cubicBezTo>
                  <a:pt x="160" y="108"/>
                  <a:pt x="153" y="120"/>
                  <a:pt x="154" y="140"/>
                </a:cubicBezTo>
                <a:cubicBezTo>
                  <a:pt x="157" y="180"/>
                  <a:pt x="177" y="198"/>
                  <a:pt x="196" y="198"/>
                </a:cubicBezTo>
                <a:close/>
                <a:moveTo>
                  <a:pt x="184" y="118"/>
                </a:moveTo>
                <a:cubicBezTo>
                  <a:pt x="188" y="114"/>
                  <a:pt x="194" y="112"/>
                  <a:pt x="196" y="112"/>
                </a:cubicBezTo>
                <a:cubicBezTo>
                  <a:pt x="197" y="112"/>
                  <a:pt x="197" y="112"/>
                  <a:pt x="197" y="112"/>
                </a:cubicBezTo>
                <a:cubicBezTo>
                  <a:pt x="198" y="112"/>
                  <a:pt x="204" y="114"/>
                  <a:pt x="209" y="118"/>
                </a:cubicBezTo>
                <a:cubicBezTo>
                  <a:pt x="213" y="123"/>
                  <a:pt x="215" y="129"/>
                  <a:pt x="214" y="138"/>
                </a:cubicBezTo>
                <a:cubicBezTo>
                  <a:pt x="212" y="162"/>
                  <a:pt x="203" y="173"/>
                  <a:pt x="197" y="173"/>
                </a:cubicBezTo>
                <a:cubicBezTo>
                  <a:pt x="196" y="173"/>
                  <a:pt x="196" y="173"/>
                  <a:pt x="196" y="173"/>
                </a:cubicBezTo>
                <a:cubicBezTo>
                  <a:pt x="190" y="173"/>
                  <a:pt x="180" y="162"/>
                  <a:pt x="179" y="138"/>
                </a:cubicBezTo>
                <a:cubicBezTo>
                  <a:pt x="178" y="129"/>
                  <a:pt x="180" y="123"/>
                  <a:pt x="184" y="118"/>
                </a:cubicBezTo>
                <a:close/>
                <a:moveTo>
                  <a:pt x="380" y="198"/>
                </a:moveTo>
                <a:cubicBezTo>
                  <a:pt x="380" y="198"/>
                  <a:pt x="380" y="198"/>
                  <a:pt x="380" y="198"/>
                </a:cubicBezTo>
                <a:cubicBezTo>
                  <a:pt x="399" y="198"/>
                  <a:pt x="419" y="180"/>
                  <a:pt x="422" y="140"/>
                </a:cubicBezTo>
                <a:cubicBezTo>
                  <a:pt x="424" y="120"/>
                  <a:pt x="417" y="108"/>
                  <a:pt x="410" y="102"/>
                </a:cubicBezTo>
                <a:cubicBezTo>
                  <a:pt x="401" y="91"/>
                  <a:pt x="388" y="88"/>
                  <a:pt x="380" y="88"/>
                </a:cubicBezTo>
                <a:cubicBezTo>
                  <a:pt x="380" y="88"/>
                  <a:pt x="380" y="88"/>
                  <a:pt x="380" y="88"/>
                </a:cubicBezTo>
                <a:cubicBezTo>
                  <a:pt x="372" y="88"/>
                  <a:pt x="359" y="91"/>
                  <a:pt x="350" y="102"/>
                </a:cubicBezTo>
                <a:cubicBezTo>
                  <a:pt x="344" y="108"/>
                  <a:pt x="337" y="120"/>
                  <a:pt x="338" y="140"/>
                </a:cubicBezTo>
                <a:cubicBezTo>
                  <a:pt x="341" y="180"/>
                  <a:pt x="361" y="198"/>
                  <a:pt x="380" y="198"/>
                </a:cubicBezTo>
                <a:close/>
                <a:moveTo>
                  <a:pt x="368" y="118"/>
                </a:moveTo>
                <a:cubicBezTo>
                  <a:pt x="372" y="114"/>
                  <a:pt x="378" y="112"/>
                  <a:pt x="380" y="112"/>
                </a:cubicBezTo>
                <a:cubicBezTo>
                  <a:pt x="380" y="112"/>
                  <a:pt x="380" y="112"/>
                  <a:pt x="380" y="112"/>
                </a:cubicBezTo>
                <a:cubicBezTo>
                  <a:pt x="382" y="112"/>
                  <a:pt x="388" y="114"/>
                  <a:pt x="392" y="118"/>
                </a:cubicBezTo>
                <a:cubicBezTo>
                  <a:pt x="397" y="123"/>
                  <a:pt x="398" y="129"/>
                  <a:pt x="398" y="138"/>
                </a:cubicBezTo>
                <a:cubicBezTo>
                  <a:pt x="396" y="162"/>
                  <a:pt x="387" y="173"/>
                  <a:pt x="380" y="173"/>
                </a:cubicBezTo>
                <a:cubicBezTo>
                  <a:pt x="380" y="173"/>
                  <a:pt x="380" y="173"/>
                  <a:pt x="380" y="173"/>
                </a:cubicBezTo>
                <a:cubicBezTo>
                  <a:pt x="374" y="173"/>
                  <a:pt x="364" y="162"/>
                  <a:pt x="362" y="138"/>
                </a:cubicBezTo>
                <a:cubicBezTo>
                  <a:pt x="362" y="129"/>
                  <a:pt x="364" y="123"/>
                  <a:pt x="368" y="11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a:solidFill>
                <a:schemeClr val="accent1"/>
              </a:solidFill>
            </a:endParaRPr>
          </a:p>
        </p:txBody>
      </p:sp>
      <p:sp>
        <p:nvSpPr>
          <p:cNvPr id="48" name="Freeform 20">
            <a:extLst>
              <a:ext uri="{FF2B5EF4-FFF2-40B4-BE49-F238E27FC236}">
                <a16:creationId xmlns:a16="http://schemas.microsoft.com/office/drawing/2014/main" id="{0A395E2A-0D43-714D-8CBB-24ACA3F8C43C}"/>
              </a:ext>
            </a:extLst>
          </p:cNvPr>
          <p:cNvSpPr>
            <a:spLocks noChangeAspect="1" noEditPoints="1"/>
          </p:cNvSpPr>
          <p:nvPr/>
        </p:nvSpPr>
        <p:spPr bwMode="auto">
          <a:xfrm>
            <a:off x="506414" y="1893308"/>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49" name="Freeform 73">
            <a:extLst>
              <a:ext uri="{FF2B5EF4-FFF2-40B4-BE49-F238E27FC236}">
                <a16:creationId xmlns:a16="http://schemas.microsoft.com/office/drawing/2014/main" id="{6D929803-EC6E-5243-A65F-11E6E827A291}"/>
              </a:ext>
            </a:extLst>
          </p:cNvPr>
          <p:cNvSpPr>
            <a:spLocks noChangeAspect="1" noEditPoints="1"/>
          </p:cNvSpPr>
          <p:nvPr/>
        </p:nvSpPr>
        <p:spPr bwMode="auto">
          <a:xfrm>
            <a:off x="484533" y="5437623"/>
            <a:ext cx="258763" cy="26035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60 w 576"/>
              <a:gd name="T21" fmla="*/ 238 h 576"/>
              <a:gd name="T22" fmla="*/ 135 w 576"/>
              <a:gd name="T23" fmla="*/ 260 h 576"/>
              <a:gd name="T24" fmla="*/ 135 w 576"/>
              <a:gd name="T25" fmla="*/ 352 h 576"/>
              <a:gd name="T26" fmla="*/ 140 w 576"/>
              <a:gd name="T27" fmla="*/ 355 h 576"/>
              <a:gd name="T28" fmla="*/ 289 w 576"/>
              <a:gd name="T29" fmla="*/ 407 h 576"/>
              <a:gd name="T30" fmla="*/ 416 w 576"/>
              <a:gd name="T31" fmla="*/ 369 h 576"/>
              <a:gd name="T32" fmla="*/ 416 w 576"/>
              <a:gd name="T33" fmla="*/ 406 h 576"/>
              <a:gd name="T34" fmla="*/ 390 w 576"/>
              <a:gd name="T35" fmla="*/ 451 h 576"/>
              <a:gd name="T36" fmla="*/ 411 w 576"/>
              <a:gd name="T37" fmla="*/ 463 h 576"/>
              <a:gd name="T38" fmla="*/ 428 w 576"/>
              <a:gd name="T39" fmla="*/ 434 h 576"/>
              <a:gd name="T40" fmla="*/ 446 w 576"/>
              <a:gd name="T41" fmla="*/ 463 h 576"/>
              <a:gd name="T42" fmla="*/ 467 w 576"/>
              <a:gd name="T43" fmla="*/ 451 h 576"/>
              <a:gd name="T44" fmla="*/ 441 w 576"/>
              <a:gd name="T45" fmla="*/ 406 h 576"/>
              <a:gd name="T46" fmla="*/ 441 w 576"/>
              <a:gd name="T47" fmla="*/ 352 h 576"/>
              <a:gd name="T48" fmla="*/ 441 w 576"/>
              <a:gd name="T49" fmla="*/ 258 h 576"/>
              <a:gd name="T50" fmla="*/ 516 w 576"/>
              <a:gd name="T51" fmla="*/ 236 h 576"/>
              <a:gd name="T52" fmla="*/ 525 w 576"/>
              <a:gd name="T53" fmla="*/ 224 h 576"/>
              <a:gd name="T54" fmla="*/ 516 w 576"/>
              <a:gd name="T55" fmla="*/ 212 h 576"/>
              <a:gd name="T56" fmla="*/ 287 w 576"/>
              <a:gd name="T57" fmla="*/ 151 h 576"/>
              <a:gd name="T58" fmla="*/ 60 w 576"/>
              <a:gd name="T59" fmla="*/ 215 h 576"/>
              <a:gd name="T60" fmla="*/ 51 w 576"/>
              <a:gd name="T61" fmla="*/ 227 h 576"/>
              <a:gd name="T62" fmla="*/ 60 w 576"/>
              <a:gd name="T63" fmla="*/ 238 h 576"/>
              <a:gd name="T64" fmla="*/ 289 w 576"/>
              <a:gd name="T65" fmla="*/ 383 h 576"/>
              <a:gd name="T66" fmla="*/ 160 w 576"/>
              <a:gd name="T67" fmla="*/ 340 h 576"/>
              <a:gd name="T68" fmla="*/ 160 w 576"/>
              <a:gd name="T69" fmla="*/ 267 h 576"/>
              <a:gd name="T70" fmla="*/ 283 w 576"/>
              <a:gd name="T71" fmla="*/ 302 h 576"/>
              <a:gd name="T72" fmla="*/ 283 w 576"/>
              <a:gd name="T73" fmla="*/ 302 h 576"/>
              <a:gd name="T74" fmla="*/ 287 w 576"/>
              <a:gd name="T75" fmla="*/ 302 h 576"/>
              <a:gd name="T76" fmla="*/ 416 w 576"/>
              <a:gd name="T77" fmla="*/ 267 h 576"/>
              <a:gd name="T78" fmla="*/ 416 w 576"/>
              <a:gd name="T79" fmla="*/ 340 h 576"/>
              <a:gd name="T80" fmla="*/ 289 w 576"/>
              <a:gd name="T81" fmla="*/ 383 h 576"/>
              <a:gd name="T82" fmla="*/ 287 w 576"/>
              <a:gd name="T83" fmla="*/ 176 h 576"/>
              <a:gd name="T84" fmla="*/ 467 w 576"/>
              <a:gd name="T85" fmla="*/ 225 h 576"/>
              <a:gd name="T86" fmla="*/ 424 w 576"/>
              <a:gd name="T87" fmla="*/ 237 h 576"/>
              <a:gd name="T88" fmla="*/ 291 w 576"/>
              <a:gd name="T89" fmla="*/ 209 h 576"/>
              <a:gd name="T90" fmla="*/ 276 w 576"/>
              <a:gd name="T91" fmla="*/ 218 h 576"/>
              <a:gd name="T92" fmla="*/ 285 w 576"/>
              <a:gd name="T93" fmla="*/ 233 h 576"/>
              <a:gd name="T94" fmla="*/ 374 w 576"/>
              <a:gd name="T95" fmla="*/ 251 h 576"/>
              <a:gd name="T96" fmla="*/ 287 w 576"/>
              <a:gd name="T97" fmla="*/ 277 h 576"/>
              <a:gd name="T98" fmla="*/ 135 w 576"/>
              <a:gd name="T99" fmla="*/ 234 h 576"/>
              <a:gd name="T100" fmla="*/ 135 w 576"/>
              <a:gd name="T101" fmla="*/ 234 h 576"/>
              <a:gd name="T102" fmla="*/ 108 w 576"/>
              <a:gd name="T103" fmla="*/ 227 h 576"/>
              <a:gd name="T104" fmla="*/ 287 w 576"/>
              <a:gd name="T105" fmla="*/ 1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60" y="238"/>
                </a:moveTo>
                <a:cubicBezTo>
                  <a:pt x="135" y="260"/>
                  <a:pt x="135" y="260"/>
                  <a:pt x="135" y="260"/>
                </a:cubicBezTo>
                <a:cubicBezTo>
                  <a:pt x="135" y="352"/>
                  <a:pt x="135" y="352"/>
                  <a:pt x="135" y="352"/>
                </a:cubicBezTo>
                <a:cubicBezTo>
                  <a:pt x="140" y="355"/>
                  <a:pt x="140" y="355"/>
                  <a:pt x="140" y="355"/>
                </a:cubicBezTo>
                <a:cubicBezTo>
                  <a:pt x="182" y="389"/>
                  <a:pt x="235" y="407"/>
                  <a:pt x="289" y="407"/>
                </a:cubicBezTo>
                <a:cubicBezTo>
                  <a:pt x="333" y="407"/>
                  <a:pt x="378" y="394"/>
                  <a:pt x="416" y="369"/>
                </a:cubicBezTo>
                <a:cubicBezTo>
                  <a:pt x="416" y="406"/>
                  <a:pt x="416" y="406"/>
                  <a:pt x="416" y="406"/>
                </a:cubicBezTo>
                <a:cubicBezTo>
                  <a:pt x="390" y="451"/>
                  <a:pt x="390" y="451"/>
                  <a:pt x="390" y="451"/>
                </a:cubicBezTo>
                <a:cubicBezTo>
                  <a:pt x="411" y="463"/>
                  <a:pt x="411" y="463"/>
                  <a:pt x="411" y="463"/>
                </a:cubicBezTo>
                <a:cubicBezTo>
                  <a:pt x="428" y="434"/>
                  <a:pt x="428" y="434"/>
                  <a:pt x="428" y="434"/>
                </a:cubicBezTo>
                <a:cubicBezTo>
                  <a:pt x="446" y="463"/>
                  <a:pt x="446" y="463"/>
                  <a:pt x="446" y="463"/>
                </a:cubicBezTo>
                <a:cubicBezTo>
                  <a:pt x="467" y="451"/>
                  <a:pt x="467" y="451"/>
                  <a:pt x="467" y="451"/>
                </a:cubicBezTo>
                <a:cubicBezTo>
                  <a:pt x="441" y="406"/>
                  <a:pt x="441" y="406"/>
                  <a:pt x="441" y="406"/>
                </a:cubicBezTo>
                <a:cubicBezTo>
                  <a:pt x="441" y="352"/>
                  <a:pt x="441" y="352"/>
                  <a:pt x="441" y="352"/>
                </a:cubicBezTo>
                <a:cubicBezTo>
                  <a:pt x="441" y="258"/>
                  <a:pt x="441" y="258"/>
                  <a:pt x="441" y="258"/>
                </a:cubicBezTo>
                <a:cubicBezTo>
                  <a:pt x="516" y="236"/>
                  <a:pt x="516" y="236"/>
                  <a:pt x="516" y="236"/>
                </a:cubicBezTo>
                <a:cubicBezTo>
                  <a:pt x="522" y="234"/>
                  <a:pt x="525" y="229"/>
                  <a:pt x="525" y="224"/>
                </a:cubicBezTo>
                <a:cubicBezTo>
                  <a:pt x="525" y="218"/>
                  <a:pt x="521" y="214"/>
                  <a:pt x="516" y="212"/>
                </a:cubicBezTo>
                <a:cubicBezTo>
                  <a:pt x="287" y="151"/>
                  <a:pt x="287" y="151"/>
                  <a:pt x="287" y="151"/>
                </a:cubicBezTo>
                <a:cubicBezTo>
                  <a:pt x="60" y="215"/>
                  <a:pt x="60" y="215"/>
                  <a:pt x="60" y="215"/>
                </a:cubicBezTo>
                <a:cubicBezTo>
                  <a:pt x="54" y="216"/>
                  <a:pt x="51" y="221"/>
                  <a:pt x="51" y="227"/>
                </a:cubicBezTo>
                <a:cubicBezTo>
                  <a:pt x="51" y="232"/>
                  <a:pt x="54" y="237"/>
                  <a:pt x="60" y="238"/>
                </a:cubicBezTo>
                <a:close/>
                <a:moveTo>
                  <a:pt x="289" y="383"/>
                </a:moveTo>
                <a:cubicBezTo>
                  <a:pt x="241" y="383"/>
                  <a:pt x="197" y="368"/>
                  <a:pt x="160" y="340"/>
                </a:cubicBezTo>
                <a:cubicBezTo>
                  <a:pt x="160" y="267"/>
                  <a:pt x="160" y="267"/>
                  <a:pt x="160" y="267"/>
                </a:cubicBezTo>
                <a:cubicBezTo>
                  <a:pt x="283" y="302"/>
                  <a:pt x="283" y="302"/>
                  <a:pt x="283" y="302"/>
                </a:cubicBezTo>
                <a:cubicBezTo>
                  <a:pt x="283" y="302"/>
                  <a:pt x="283" y="302"/>
                  <a:pt x="283" y="302"/>
                </a:cubicBezTo>
                <a:cubicBezTo>
                  <a:pt x="287" y="302"/>
                  <a:pt x="287" y="302"/>
                  <a:pt x="287" y="302"/>
                </a:cubicBezTo>
                <a:cubicBezTo>
                  <a:pt x="416" y="267"/>
                  <a:pt x="416" y="267"/>
                  <a:pt x="416" y="267"/>
                </a:cubicBezTo>
                <a:cubicBezTo>
                  <a:pt x="416" y="340"/>
                  <a:pt x="416" y="340"/>
                  <a:pt x="416" y="340"/>
                </a:cubicBezTo>
                <a:cubicBezTo>
                  <a:pt x="378" y="368"/>
                  <a:pt x="334" y="383"/>
                  <a:pt x="289" y="383"/>
                </a:cubicBezTo>
                <a:close/>
                <a:moveTo>
                  <a:pt x="287" y="176"/>
                </a:moveTo>
                <a:cubicBezTo>
                  <a:pt x="467" y="225"/>
                  <a:pt x="467" y="225"/>
                  <a:pt x="467" y="225"/>
                </a:cubicBezTo>
                <a:cubicBezTo>
                  <a:pt x="424" y="237"/>
                  <a:pt x="424" y="237"/>
                  <a:pt x="424" y="237"/>
                </a:cubicBezTo>
                <a:cubicBezTo>
                  <a:pt x="291" y="209"/>
                  <a:pt x="291" y="209"/>
                  <a:pt x="291" y="209"/>
                </a:cubicBezTo>
                <a:cubicBezTo>
                  <a:pt x="284" y="207"/>
                  <a:pt x="277" y="211"/>
                  <a:pt x="276" y="218"/>
                </a:cubicBezTo>
                <a:cubicBezTo>
                  <a:pt x="275" y="225"/>
                  <a:pt x="279" y="231"/>
                  <a:pt x="285" y="233"/>
                </a:cubicBezTo>
                <a:cubicBezTo>
                  <a:pt x="374" y="251"/>
                  <a:pt x="374" y="251"/>
                  <a:pt x="374" y="251"/>
                </a:cubicBezTo>
                <a:cubicBezTo>
                  <a:pt x="287" y="277"/>
                  <a:pt x="287" y="277"/>
                  <a:pt x="287" y="277"/>
                </a:cubicBezTo>
                <a:cubicBezTo>
                  <a:pt x="135" y="234"/>
                  <a:pt x="135" y="234"/>
                  <a:pt x="135" y="234"/>
                </a:cubicBezTo>
                <a:cubicBezTo>
                  <a:pt x="135" y="234"/>
                  <a:pt x="135" y="234"/>
                  <a:pt x="135" y="234"/>
                </a:cubicBezTo>
                <a:cubicBezTo>
                  <a:pt x="108" y="227"/>
                  <a:pt x="108" y="227"/>
                  <a:pt x="108" y="227"/>
                </a:cubicBezTo>
                <a:lnTo>
                  <a:pt x="287" y="17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a:p>
        </p:txBody>
      </p:sp>
      <p:sp>
        <p:nvSpPr>
          <p:cNvPr id="50" name="Freeform 137">
            <a:extLst>
              <a:ext uri="{FF2B5EF4-FFF2-40B4-BE49-F238E27FC236}">
                <a16:creationId xmlns:a16="http://schemas.microsoft.com/office/drawing/2014/main" id="{92A4D647-17E5-0842-AE91-FC52EDD61E87}"/>
              </a:ext>
            </a:extLst>
          </p:cNvPr>
          <p:cNvSpPr>
            <a:spLocks noChangeAspect="1" noEditPoints="1"/>
          </p:cNvSpPr>
          <p:nvPr/>
        </p:nvSpPr>
        <p:spPr bwMode="auto">
          <a:xfrm>
            <a:off x="484533" y="5875047"/>
            <a:ext cx="258763" cy="260350"/>
          </a:xfrm>
          <a:custGeom>
            <a:avLst/>
            <a:gdLst>
              <a:gd name="T0" fmla="*/ 576 w 576"/>
              <a:gd name="T1" fmla="*/ 576 h 576"/>
              <a:gd name="T2" fmla="*/ 551 w 576"/>
              <a:gd name="T3" fmla="*/ 551 h 576"/>
              <a:gd name="T4" fmla="*/ 551 w 576"/>
              <a:gd name="T5" fmla="*/ 25 h 576"/>
              <a:gd name="T6" fmla="*/ 274 w 576"/>
              <a:gd name="T7" fmla="*/ 331 h 576"/>
              <a:gd name="T8" fmla="*/ 315 w 576"/>
              <a:gd name="T9" fmla="*/ 291 h 576"/>
              <a:gd name="T10" fmla="*/ 178 w 576"/>
              <a:gd name="T11" fmla="*/ 171 h 576"/>
              <a:gd name="T12" fmla="*/ 119 w 576"/>
              <a:gd name="T13" fmla="*/ 272 h 576"/>
              <a:gd name="T14" fmla="*/ 84 w 576"/>
              <a:gd name="T15" fmla="*/ 260 h 576"/>
              <a:gd name="T16" fmla="*/ 86 w 576"/>
              <a:gd name="T17" fmla="*/ 389 h 576"/>
              <a:gd name="T18" fmla="*/ 190 w 576"/>
              <a:gd name="T19" fmla="*/ 431 h 576"/>
              <a:gd name="T20" fmla="*/ 281 w 576"/>
              <a:gd name="T21" fmla="*/ 483 h 576"/>
              <a:gd name="T22" fmla="*/ 278 w 576"/>
              <a:gd name="T23" fmla="*/ 412 h 576"/>
              <a:gd name="T24" fmla="*/ 345 w 576"/>
              <a:gd name="T25" fmla="*/ 462 h 576"/>
              <a:gd name="T26" fmla="*/ 378 w 576"/>
              <a:gd name="T27" fmla="*/ 431 h 576"/>
              <a:gd name="T28" fmla="*/ 471 w 576"/>
              <a:gd name="T29" fmla="*/ 259 h 576"/>
              <a:gd name="T30" fmla="*/ 436 w 576"/>
              <a:gd name="T31" fmla="*/ 272 h 576"/>
              <a:gd name="T32" fmla="*/ 377 w 576"/>
              <a:gd name="T33" fmla="*/ 172 h 576"/>
              <a:gd name="T34" fmla="*/ 463 w 576"/>
              <a:gd name="T35" fmla="*/ 191 h 576"/>
              <a:gd name="T36" fmla="*/ 376 w 576"/>
              <a:gd name="T37" fmla="*/ 147 h 576"/>
              <a:gd name="T38" fmla="*/ 189 w 576"/>
              <a:gd name="T39" fmla="*/ 148 h 576"/>
              <a:gd name="T40" fmla="*/ 80 w 576"/>
              <a:gd name="T41" fmla="*/ 192 h 576"/>
              <a:gd name="T42" fmla="*/ 205 w 576"/>
              <a:gd name="T43" fmla="*/ 174 h 576"/>
              <a:gd name="T44" fmla="*/ 196 w 576"/>
              <a:gd name="T45" fmla="*/ 208 h 576"/>
              <a:gd name="T46" fmla="*/ 360 w 576"/>
              <a:gd name="T47" fmla="*/ 344 h 576"/>
              <a:gd name="T48" fmla="*/ 235 w 576"/>
              <a:gd name="T49" fmla="*/ 367 h 576"/>
              <a:gd name="T50" fmla="*/ 190 w 576"/>
              <a:gd name="T51" fmla="*/ 241 h 576"/>
              <a:gd name="T52" fmla="*/ 316 w 576"/>
              <a:gd name="T53" fmla="*/ 211 h 576"/>
              <a:gd name="T54" fmla="*/ 164 w 576"/>
              <a:gd name="T55" fmla="*/ 261 h 576"/>
              <a:gd name="T56" fmla="*/ 135 w 576"/>
              <a:gd name="T57" fmla="*/ 292 h 576"/>
              <a:gd name="T58" fmla="*/ 120 w 576"/>
              <a:gd name="T59" fmla="*/ 311 h 576"/>
              <a:gd name="T60" fmla="*/ 107 w 576"/>
              <a:gd name="T61" fmla="*/ 378 h 576"/>
              <a:gd name="T62" fmla="*/ 224 w 576"/>
              <a:gd name="T63" fmla="*/ 388 h 576"/>
              <a:gd name="T64" fmla="*/ 313 w 576"/>
              <a:gd name="T65" fmla="*/ 397 h 576"/>
              <a:gd name="T66" fmla="*/ 346 w 576"/>
              <a:gd name="T67" fmla="*/ 404 h 576"/>
              <a:gd name="T68" fmla="*/ 373 w 576"/>
              <a:gd name="T69" fmla="*/ 407 h 576"/>
              <a:gd name="T70" fmla="*/ 435 w 576"/>
              <a:gd name="T71" fmla="*/ 311 h 576"/>
              <a:gd name="T72" fmla="*/ 386 w 576"/>
              <a:gd name="T73" fmla="*/ 324 h 576"/>
              <a:gd name="T74" fmla="*/ 421 w 576"/>
              <a:gd name="T75" fmla="*/ 292 h 576"/>
              <a:gd name="T76" fmla="*/ 312 w 576"/>
              <a:gd name="T77" fmla="*/ 182 h 576"/>
              <a:gd name="T78" fmla="*/ 275 w 576"/>
              <a:gd name="T79" fmla="*/ 95 h 576"/>
              <a:gd name="T80" fmla="*/ 215 w 576"/>
              <a:gd name="T81" fmla="*/ 151 h 576"/>
              <a:gd name="T82" fmla="*/ 76 w 576"/>
              <a:gd name="T83" fmla="*/ 206 h 576"/>
              <a:gd name="T84" fmla="*/ 112 w 576"/>
              <a:gd name="T85" fmla="*/ 226 h 576"/>
              <a:gd name="T86" fmla="*/ 79 w 576"/>
              <a:gd name="T87" fmla="*/ 247 h 576"/>
              <a:gd name="T88" fmla="*/ 480 w 576"/>
              <a:gd name="T89" fmla="*/ 210 h 576"/>
              <a:gd name="T90" fmla="*/ 463 w 576"/>
              <a:gd name="T91" fmla="*/ 249 h 576"/>
              <a:gd name="T92" fmla="*/ 454 w 576"/>
              <a:gd name="T93" fmla="*/ 204 h 576"/>
              <a:gd name="T94" fmla="*/ 338 w 576"/>
              <a:gd name="T95" fmla="*/ 479 h 576"/>
              <a:gd name="T96" fmla="*/ 291 w 576"/>
              <a:gd name="T97" fmla="*/ 480 h 576"/>
              <a:gd name="T98" fmla="*/ 319 w 576"/>
              <a:gd name="T99" fmla="*/ 4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315" y="291"/>
                </a:moveTo>
                <a:cubicBezTo>
                  <a:pt x="315" y="313"/>
                  <a:pt x="297" y="331"/>
                  <a:pt x="274" y="331"/>
                </a:cubicBezTo>
                <a:cubicBezTo>
                  <a:pt x="252" y="331"/>
                  <a:pt x="234" y="313"/>
                  <a:pt x="234" y="291"/>
                </a:cubicBezTo>
                <a:cubicBezTo>
                  <a:pt x="234" y="268"/>
                  <a:pt x="252" y="250"/>
                  <a:pt x="274" y="250"/>
                </a:cubicBezTo>
                <a:cubicBezTo>
                  <a:pt x="297" y="250"/>
                  <a:pt x="315" y="268"/>
                  <a:pt x="315" y="291"/>
                </a:cubicBezTo>
                <a:close/>
                <a:moveTo>
                  <a:pt x="106" y="196"/>
                </a:moveTo>
                <a:cubicBezTo>
                  <a:pt x="117" y="180"/>
                  <a:pt x="141" y="171"/>
                  <a:pt x="173" y="171"/>
                </a:cubicBezTo>
                <a:cubicBezTo>
                  <a:pt x="175" y="171"/>
                  <a:pt x="176" y="171"/>
                  <a:pt x="178" y="171"/>
                </a:cubicBezTo>
                <a:cubicBezTo>
                  <a:pt x="179" y="171"/>
                  <a:pt x="180" y="171"/>
                  <a:pt x="181" y="172"/>
                </a:cubicBezTo>
                <a:cubicBezTo>
                  <a:pt x="175" y="189"/>
                  <a:pt x="171" y="208"/>
                  <a:pt x="168" y="228"/>
                </a:cubicBezTo>
                <a:cubicBezTo>
                  <a:pt x="149" y="242"/>
                  <a:pt x="133" y="257"/>
                  <a:pt x="119" y="272"/>
                </a:cubicBezTo>
                <a:cubicBezTo>
                  <a:pt x="115" y="266"/>
                  <a:pt x="111" y="260"/>
                  <a:pt x="108" y="254"/>
                </a:cubicBezTo>
                <a:cubicBezTo>
                  <a:pt x="103" y="258"/>
                  <a:pt x="96" y="260"/>
                  <a:pt x="89" y="260"/>
                </a:cubicBezTo>
                <a:cubicBezTo>
                  <a:pt x="87" y="260"/>
                  <a:pt x="86" y="260"/>
                  <a:pt x="84" y="260"/>
                </a:cubicBezTo>
                <a:cubicBezTo>
                  <a:pt x="89" y="270"/>
                  <a:pt x="96" y="281"/>
                  <a:pt x="104" y="292"/>
                </a:cubicBezTo>
                <a:cubicBezTo>
                  <a:pt x="104" y="292"/>
                  <a:pt x="104" y="292"/>
                  <a:pt x="104" y="292"/>
                </a:cubicBezTo>
                <a:cubicBezTo>
                  <a:pt x="80" y="327"/>
                  <a:pt x="72" y="362"/>
                  <a:pt x="86" y="389"/>
                </a:cubicBezTo>
                <a:cubicBezTo>
                  <a:pt x="100" y="416"/>
                  <a:pt x="132" y="431"/>
                  <a:pt x="177" y="431"/>
                </a:cubicBezTo>
                <a:cubicBezTo>
                  <a:pt x="179" y="431"/>
                  <a:pt x="181" y="431"/>
                  <a:pt x="183" y="431"/>
                </a:cubicBezTo>
                <a:cubicBezTo>
                  <a:pt x="185" y="431"/>
                  <a:pt x="187" y="431"/>
                  <a:pt x="190" y="431"/>
                </a:cubicBezTo>
                <a:cubicBezTo>
                  <a:pt x="210" y="478"/>
                  <a:pt x="241" y="507"/>
                  <a:pt x="275" y="507"/>
                </a:cubicBezTo>
                <a:cubicBezTo>
                  <a:pt x="281" y="507"/>
                  <a:pt x="287" y="506"/>
                  <a:pt x="292" y="505"/>
                </a:cubicBezTo>
                <a:cubicBezTo>
                  <a:pt x="286" y="499"/>
                  <a:pt x="282" y="492"/>
                  <a:pt x="281" y="483"/>
                </a:cubicBezTo>
                <a:cubicBezTo>
                  <a:pt x="279" y="483"/>
                  <a:pt x="277" y="483"/>
                  <a:pt x="275" y="483"/>
                </a:cubicBezTo>
                <a:cubicBezTo>
                  <a:pt x="254" y="483"/>
                  <a:pt x="232" y="463"/>
                  <a:pt x="215" y="428"/>
                </a:cubicBezTo>
                <a:cubicBezTo>
                  <a:pt x="235" y="425"/>
                  <a:pt x="256" y="419"/>
                  <a:pt x="278" y="412"/>
                </a:cubicBezTo>
                <a:cubicBezTo>
                  <a:pt x="298" y="419"/>
                  <a:pt x="317" y="424"/>
                  <a:pt x="336" y="427"/>
                </a:cubicBezTo>
                <a:cubicBezTo>
                  <a:pt x="333" y="434"/>
                  <a:pt x="330" y="440"/>
                  <a:pt x="326" y="446"/>
                </a:cubicBezTo>
                <a:cubicBezTo>
                  <a:pt x="334" y="449"/>
                  <a:pt x="341" y="455"/>
                  <a:pt x="345" y="462"/>
                </a:cubicBezTo>
                <a:cubicBezTo>
                  <a:pt x="351" y="452"/>
                  <a:pt x="356" y="442"/>
                  <a:pt x="361" y="430"/>
                </a:cubicBezTo>
                <a:cubicBezTo>
                  <a:pt x="365" y="430"/>
                  <a:pt x="369" y="431"/>
                  <a:pt x="372" y="431"/>
                </a:cubicBezTo>
                <a:cubicBezTo>
                  <a:pt x="374" y="431"/>
                  <a:pt x="376" y="431"/>
                  <a:pt x="378" y="431"/>
                </a:cubicBezTo>
                <a:cubicBezTo>
                  <a:pt x="423" y="431"/>
                  <a:pt x="455" y="416"/>
                  <a:pt x="469" y="389"/>
                </a:cubicBezTo>
                <a:cubicBezTo>
                  <a:pt x="483" y="362"/>
                  <a:pt x="476" y="327"/>
                  <a:pt x="451" y="292"/>
                </a:cubicBezTo>
                <a:cubicBezTo>
                  <a:pt x="460" y="281"/>
                  <a:pt x="466" y="270"/>
                  <a:pt x="471" y="259"/>
                </a:cubicBezTo>
                <a:cubicBezTo>
                  <a:pt x="468" y="260"/>
                  <a:pt x="466" y="260"/>
                  <a:pt x="463" y="260"/>
                </a:cubicBezTo>
                <a:cubicBezTo>
                  <a:pt x="457" y="260"/>
                  <a:pt x="451" y="258"/>
                  <a:pt x="446" y="256"/>
                </a:cubicBezTo>
                <a:cubicBezTo>
                  <a:pt x="443" y="261"/>
                  <a:pt x="440" y="267"/>
                  <a:pt x="436" y="272"/>
                </a:cubicBezTo>
                <a:cubicBezTo>
                  <a:pt x="421" y="256"/>
                  <a:pt x="403" y="239"/>
                  <a:pt x="382" y="224"/>
                </a:cubicBezTo>
                <a:cubicBezTo>
                  <a:pt x="380" y="205"/>
                  <a:pt x="375" y="188"/>
                  <a:pt x="370" y="172"/>
                </a:cubicBezTo>
                <a:cubicBezTo>
                  <a:pt x="373" y="172"/>
                  <a:pt x="375" y="172"/>
                  <a:pt x="377" y="172"/>
                </a:cubicBezTo>
                <a:cubicBezTo>
                  <a:pt x="379" y="172"/>
                  <a:pt x="380" y="171"/>
                  <a:pt x="382" y="171"/>
                </a:cubicBezTo>
                <a:cubicBezTo>
                  <a:pt x="413" y="171"/>
                  <a:pt x="437" y="180"/>
                  <a:pt x="448" y="194"/>
                </a:cubicBezTo>
                <a:cubicBezTo>
                  <a:pt x="453" y="192"/>
                  <a:pt x="458" y="191"/>
                  <a:pt x="463" y="191"/>
                </a:cubicBezTo>
                <a:cubicBezTo>
                  <a:pt x="467" y="191"/>
                  <a:pt x="472" y="192"/>
                  <a:pt x="476" y="194"/>
                </a:cubicBezTo>
                <a:cubicBezTo>
                  <a:pt x="475" y="192"/>
                  <a:pt x="474" y="191"/>
                  <a:pt x="474" y="189"/>
                </a:cubicBezTo>
                <a:cubicBezTo>
                  <a:pt x="459" y="161"/>
                  <a:pt x="425" y="146"/>
                  <a:pt x="376" y="147"/>
                </a:cubicBezTo>
                <a:cubicBezTo>
                  <a:pt x="372" y="148"/>
                  <a:pt x="367" y="148"/>
                  <a:pt x="362" y="148"/>
                </a:cubicBezTo>
                <a:cubicBezTo>
                  <a:pt x="341" y="101"/>
                  <a:pt x="310" y="71"/>
                  <a:pt x="275" y="71"/>
                </a:cubicBezTo>
                <a:cubicBezTo>
                  <a:pt x="241" y="71"/>
                  <a:pt x="210" y="101"/>
                  <a:pt x="189" y="148"/>
                </a:cubicBezTo>
                <a:cubicBezTo>
                  <a:pt x="186" y="148"/>
                  <a:pt x="182" y="147"/>
                  <a:pt x="179" y="147"/>
                </a:cubicBezTo>
                <a:cubicBezTo>
                  <a:pt x="131" y="146"/>
                  <a:pt x="96" y="161"/>
                  <a:pt x="82" y="189"/>
                </a:cubicBezTo>
                <a:cubicBezTo>
                  <a:pt x="81" y="190"/>
                  <a:pt x="81" y="191"/>
                  <a:pt x="80" y="192"/>
                </a:cubicBezTo>
                <a:cubicBezTo>
                  <a:pt x="83" y="192"/>
                  <a:pt x="86" y="191"/>
                  <a:pt x="89" y="191"/>
                </a:cubicBezTo>
                <a:cubicBezTo>
                  <a:pt x="95" y="191"/>
                  <a:pt x="101" y="193"/>
                  <a:pt x="106" y="196"/>
                </a:cubicBezTo>
                <a:close/>
                <a:moveTo>
                  <a:pt x="205" y="174"/>
                </a:moveTo>
                <a:cubicBezTo>
                  <a:pt x="218" y="176"/>
                  <a:pt x="231" y="178"/>
                  <a:pt x="244" y="182"/>
                </a:cubicBezTo>
                <a:cubicBezTo>
                  <a:pt x="239" y="185"/>
                  <a:pt x="233" y="187"/>
                  <a:pt x="228" y="190"/>
                </a:cubicBezTo>
                <a:cubicBezTo>
                  <a:pt x="217" y="196"/>
                  <a:pt x="206" y="202"/>
                  <a:pt x="196" y="208"/>
                </a:cubicBezTo>
                <a:cubicBezTo>
                  <a:pt x="198" y="196"/>
                  <a:pt x="202" y="184"/>
                  <a:pt x="205" y="174"/>
                </a:cubicBezTo>
                <a:close/>
                <a:moveTo>
                  <a:pt x="363" y="289"/>
                </a:moveTo>
                <a:cubicBezTo>
                  <a:pt x="363" y="308"/>
                  <a:pt x="362" y="327"/>
                  <a:pt x="360" y="344"/>
                </a:cubicBezTo>
                <a:cubicBezTo>
                  <a:pt x="347" y="352"/>
                  <a:pt x="334" y="360"/>
                  <a:pt x="320" y="367"/>
                </a:cubicBezTo>
                <a:cubicBezTo>
                  <a:pt x="306" y="374"/>
                  <a:pt x="292" y="381"/>
                  <a:pt x="278" y="386"/>
                </a:cubicBezTo>
                <a:cubicBezTo>
                  <a:pt x="264" y="381"/>
                  <a:pt x="249" y="374"/>
                  <a:pt x="235" y="367"/>
                </a:cubicBezTo>
                <a:cubicBezTo>
                  <a:pt x="219" y="359"/>
                  <a:pt x="205" y="350"/>
                  <a:pt x="191" y="340"/>
                </a:cubicBezTo>
                <a:cubicBezTo>
                  <a:pt x="189" y="324"/>
                  <a:pt x="188" y="307"/>
                  <a:pt x="188" y="289"/>
                </a:cubicBezTo>
                <a:cubicBezTo>
                  <a:pt x="188" y="272"/>
                  <a:pt x="189" y="256"/>
                  <a:pt x="190" y="241"/>
                </a:cubicBezTo>
                <a:cubicBezTo>
                  <a:pt x="205" y="231"/>
                  <a:pt x="221" y="221"/>
                  <a:pt x="239" y="211"/>
                </a:cubicBezTo>
                <a:cubicBezTo>
                  <a:pt x="252" y="205"/>
                  <a:pt x="265" y="199"/>
                  <a:pt x="278" y="194"/>
                </a:cubicBezTo>
                <a:cubicBezTo>
                  <a:pt x="290" y="199"/>
                  <a:pt x="303" y="205"/>
                  <a:pt x="316" y="211"/>
                </a:cubicBezTo>
                <a:cubicBezTo>
                  <a:pt x="332" y="219"/>
                  <a:pt x="347" y="228"/>
                  <a:pt x="360" y="238"/>
                </a:cubicBezTo>
                <a:cubicBezTo>
                  <a:pt x="362" y="254"/>
                  <a:pt x="363" y="271"/>
                  <a:pt x="363" y="289"/>
                </a:cubicBezTo>
                <a:close/>
                <a:moveTo>
                  <a:pt x="164" y="261"/>
                </a:moveTo>
                <a:cubicBezTo>
                  <a:pt x="164" y="270"/>
                  <a:pt x="164" y="280"/>
                  <a:pt x="164" y="289"/>
                </a:cubicBezTo>
                <a:cubicBezTo>
                  <a:pt x="164" y="300"/>
                  <a:pt x="164" y="310"/>
                  <a:pt x="165" y="321"/>
                </a:cubicBezTo>
                <a:cubicBezTo>
                  <a:pt x="153" y="311"/>
                  <a:pt x="143" y="301"/>
                  <a:pt x="135" y="292"/>
                </a:cubicBezTo>
                <a:cubicBezTo>
                  <a:pt x="143" y="281"/>
                  <a:pt x="153" y="271"/>
                  <a:pt x="164" y="261"/>
                </a:cubicBezTo>
                <a:close/>
                <a:moveTo>
                  <a:pt x="107" y="378"/>
                </a:moveTo>
                <a:cubicBezTo>
                  <a:pt x="99" y="362"/>
                  <a:pt x="103" y="338"/>
                  <a:pt x="120" y="311"/>
                </a:cubicBezTo>
                <a:cubicBezTo>
                  <a:pt x="134" y="326"/>
                  <a:pt x="150" y="341"/>
                  <a:pt x="168" y="354"/>
                </a:cubicBezTo>
                <a:cubicBezTo>
                  <a:pt x="171" y="373"/>
                  <a:pt x="176" y="391"/>
                  <a:pt x="181" y="407"/>
                </a:cubicBezTo>
                <a:cubicBezTo>
                  <a:pt x="144" y="407"/>
                  <a:pt x="117" y="397"/>
                  <a:pt x="107" y="378"/>
                </a:cubicBezTo>
                <a:close/>
                <a:moveTo>
                  <a:pt x="205" y="405"/>
                </a:moveTo>
                <a:cubicBezTo>
                  <a:pt x="202" y="395"/>
                  <a:pt x="199" y="384"/>
                  <a:pt x="196" y="373"/>
                </a:cubicBezTo>
                <a:cubicBezTo>
                  <a:pt x="205" y="378"/>
                  <a:pt x="215" y="384"/>
                  <a:pt x="224" y="388"/>
                </a:cubicBezTo>
                <a:cubicBezTo>
                  <a:pt x="230" y="392"/>
                  <a:pt x="236" y="395"/>
                  <a:pt x="243" y="398"/>
                </a:cubicBezTo>
                <a:cubicBezTo>
                  <a:pt x="230" y="401"/>
                  <a:pt x="217" y="403"/>
                  <a:pt x="205" y="405"/>
                </a:cubicBezTo>
                <a:close/>
                <a:moveTo>
                  <a:pt x="313" y="397"/>
                </a:moveTo>
                <a:cubicBezTo>
                  <a:pt x="319" y="395"/>
                  <a:pt x="325" y="392"/>
                  <a:pt x="331" y="389"/>
                </a:cubicBezTo>
                <a:cubicBezTo>
                  <a:pt x="339" y="385"/>
                  <a:pt x="346" y="380"/>
                  <a:pt x="354" y="376"/>
                </a:cubicBezTo>
                <a:cubicBezTo>
                  <a:pt x="351" y="386"/>
                  <a:pt x="349" y="395"/>
                  <a:pt x="346" y="404"/>
                </a:cubicBezTo>
                <a:cubicBezTo>
                  <a:pt x="335" y="403"/>
                  <a:pt x="324" y="400"/>
                  <a:pt x="313" y="397"/>
                </a:cubicBezTo>
                <a:close/>
                <a:moveTo>
                  <a:pt x="448" y="378"/>
                </a:moveTo>
                <a:cubicBezTo>
                  <a:pt x="438" y="397"/>
                  <a:pt x="411" y="408"/>
                  <a:pt x="373" y="407"/>
                </a:cubicBezTo>
                <a:cubicBezTo>
                  <a:pt x="372" y="407"/>
                  <a:pt x="371" y="407"/>
                  <a:pt x="370" y="407"/>
                </a:cubicBezTo>
                <a:cubicBezTo>
                  <a:pt x="375" y="391"/>
                  <a:pt x="379" y="375"/>
                  <a:pt x="382" y="358"/>
                </a:cubicBezTo>
                <a:cubicBezTo>
                  <a:pt x="402" y="343"/>
                  <a:pt x="420" y="328"/>
                  <a:pt x="435" y="311"/>
                </a:cubicBezTo>
                <a:cubicBezTo>
                  <a:pt x="452" y="338"/>
                  <a:pt x="456" y="362"/>
                  <a:pt x="448" y="378"/>
                </a:cubicBezTo>
                <a:close/>
                <a:moveTo>
                  <a:pt x="421" y="292"/>
                </a:moveTo>
                <a:cubicBezTo>
                  <a:pt x="411" y="303"/>
                  <a:pt x="399" y="314"/>
                  <a:pt x="386" y="324"/>
                </a:cubicBezTo>
                <a:cubicBezTo>
                  <a:pt x="387" y="313"/>
                  <a:pt x="387" y="301"/>
                  <a:pt x="387" y="289"/>
                </a:cubicBezTo>
                <a:cubicBezTo>
                  <a:pt x="387" y="278"/>
                  <a:pt x="387" y="268"/>
                  <a:pt x="386" y="257"/>
                </a:cubicBezTo>
                <a:cubicBezTo>
                  <a:pt x="400" y="269"/>
                  <a:pt x="411" y="280"/>
                  <a:pt x="421" y="292"/>
                </a:cubicBezTo>
                <a:close/>
                <a:moveTo>
                  <a:pt x="355" y="205"/>
                </a:moveTo>
                <a:cubicBezTo>
                  <a:pt x="346" y="200"/>
                  <a:pt x="336" y="195"/>
                  <a:pt x="327" y="190"/>
                </a:cubicBezTo>
                <a:cubicBezTo>
                  <a:pt x="322" y="187"/>
                  <a:pt x="317" y="185"/>
                  <a:pt x="312" y="182"/>
                </a:cubicBezTo>
                <a:cubicBezTo>
                  <a:pt x="323" y="179"/>
                  <a:pt x="335" y="176"/>
                  <a:pt x="346" y="175"/>
                </a:cubicBezTo>
                <a:cubicBezTo>
                  <a:pt x="349" y="184"/>
                  <a:pt x="352" y="194"/>
                  <a:pt x="355" y="205"/>
                </a:cubicBezTo>
                <a:close/>
                <a:moveTo>
                  <a:pt x="275" y="95"/>
                </a:moveTo>
                <a:cubicBezTo>
                  <a:pt x="297" y="95"/>
                  <a:pt x="320" y="116"/>
                  <a:pt x="337" y="152"/>
                </a:cubicBezTo>
                <a:cubicBezTo>
                  <a:pt x="318" y="155"/>
                  <a:pt x="298" y="161"/>
                  <a:pt x="278" y="168"/>
                </a:cubicBezTo>
                <a:cubicBezTo>
                  <a:pt x="256" y="160"/>
                  <a:pt x="235" y="154"/>
                  <a:pt x="215" y="151"/>
                </a:cubicBezTo>
                <a:cubicBezTo>
                  <a:pt x="231" y="115"/>
                  <a:pt x="254" y="95"/>
                  <a:pt x="275" y="95"/>
                </a:cubicBezTo>
                <a:close/>
                <a:moveTo>
                  <a:pt x="66" y="226"/>
                </a:moveTo>
                <a:cubicBezTo>
                  <a:pt x="66" y="218"/>
                  <a:pt x="70" y="211"/>
                  <a:pt x="76" y="206"/>
                </a:cubicBezTo>
                <a:cubicBezTo>
                  <a:pt x="79" y="204"/>
                  <a:pt x="84" y="202"/>
                  <a:pt x="89" y="202"/>
                </a:cubicBezTo>
                <a:cubicBezTo>
                  <a:pt x="93" y="202"/>
                  <a:pt x="97" y="203"/>
                  <a:pt x="101" y="205"/>
                </a:cubicBezTo>
                <a:cubicBezTo>
                  <a:pt x="108" y="210"/>
                  <a:pt x="112" y="217"/>
                  <a:pt x="112" y="226"/>
                </a:cubicBezTo>
                <a:cubicBezTo>
                  <a:pt x="112" y="233"/>
                  <a:pt x="109" y="239"/>
                  <a:pt x="104" y="244"/>
                </a:cubicBezTo>
                <a:cubicBezTo>
                  <a:pt x="100" y="247"/>
                  <a:pt x="95" y="249"/>
                  <a:pt x="89" y="249"/>
                </a:cubicBezTo>
                <a:cubicBezTo>
                  <a:pt x="86" y="249"/>
                  <a:pt x="82" y="248"/>
                  <a:pt x="79" y="247"/>
                </a:cubicBezTo>
                <a:cubicBezTo>
                  <a:pt x="71" y="243"/>
                  <a:pt x="66" y="235"/>
                  <a:pt x="66" y="226"/>
                </a:cubicBezTo>
                <a:close/>
                <a:moveTo>
                  <a:pt x="463" y="202"/>
                </a:moveTo>
                <a:cubicBezTo>
                  <a:pt x="470" y="202"/>
                  <a:pt x="476" y="205"/>
                  <a:pt x="480" y="210"/>
                </a:cubicBezTo>
                <a:cubicBezTo>
                  <a:pt x="484" y="214"/>
                  <a:pt x="486" y="220"/>
                  <a:pt x="486" y="226"/>
                </a:cubicBezTo>
                <a:cubicBezTo>
                  <a:pt x="486" y="233"/>
                  <a:pt x="482" y="240"/>
                  <a:pt x="477" y="244"/>
                </a:cubicBezTo>
                <a:cubicBezTo>
                  <a:pt x="473" y="247"/>
                  <a:pt x="468" y="249"/>
                  <a:pt x="463" y="249"/>
                </a:cubicBezTo>
                <a:cubicBezTo>
                  <a:pt x="458" y="249"/>
                  <a:pt x="454" y="248"/>
                  <a:pt x="451" y="246"/>
                </a:cubicBezTo>
                <a:cubicBezTo>
                  <a:pt x="444" y="241"/>
                  <a:pt x="439" y="234"/>
                  <a:pt x="439" y="226"/>
                </a:cubicBezTo>
                <a:cubicBezTo>
                  <a:pt x="439" y="216"/>
                  <a:pt x="445" y="208"/>
                  <a:pt x="454" y="204"/>
                </a:cubicBezTo>
                <a:cubicBezTo>
                  <a:pt x="457" y="203"/>
                  <a:pt x="460" y="202"/>
                  <a:pt x="463" y="202"/>
                </a:cubicBezTo>
                <a:close/>
                <a:moveTo>
                  <a:pt x="337" y="472"/>
                </a:moveTo>
                <a:cubicBezTo>
                  <a:pt x="338" y="474"/>
                  <a:pt x="338" y="476"/>
                  <a:pt x="338" y="479"/>
                </a:cubicBezTo>
                <a:cubicBezTo>
                  <a:pt x="338" y="492"/>
                  <a:pt x="328" y="502"/>
                  <a:pt x="315" y="502"/>
                </a:cubicBezTo>
                <a:cubicBezTo>
                  <a:pt x="311" y="502"/>
                  <a:pt x="308" y="501"/>
                  <a:pt x="305" y="500"/>
                </a:cubicBezTo>
                <a:cubicBezTo>
                  <a:pt x="297" y="496"/>
                  <a:pt x="292" y="489"/>
                  <a:pt x="291" y="480"/>
                </a:cubicBezTo>
                <a:cubicBezTo>
                  <a:pt x="291" y="479"/>
                  <a:pt x="291" y="479"/>
                  <a:pt x="291" y="479"/>
                </a:cubicBezTo>
                <a:cubicBezTo>
                  <a:pt x="291" y="466"/>
                  <a:pt x="302" y="455"/>
                  <a:pt x="315" y="455"/>
                </a:cubicBezTo>
                <a:cubicBezTo>
                  <a:pt x="316" y="455"/>
                  <a:pt x="318" y="455"/>
                  <a:pt x="319" y="456"/>
                </a:cubicBezTo>
                <a:cubicBezTo>
                  <a:pt x="328" y="457"/>
                  <a:pt x="335" y="464"/>
                  <a:pt x="337" y="47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1600">
              <a:solidFill>
                <a:schemeClr val="tx2"/>
              </a:solidFill>
            </a:endParaRPr>
          </a:p>
        </p:txBody>
      </p:sp>
      <p:sp>
        <p:nvSpPr>
          <p:cNvPr id="52" name="Freeform 30">
            <a:extLst>
              <a:ext uri="{FF2B5EF4-FFF2-40B4-BE49-F238E27FC236}">
                <a16:creationId xmlns:a16="http://schemas.microsoft.com/office/drawing/2014/main" id="{E3C28780-1E6F-044C-AC3A-F6947C3AF33F}"/>
              </a:ext>
            </a:extLst>
          </p:cNvPr>
          <p:cNvSpPr>
            <a:spLocks noChangeAspect="1" noEditPoints="1"/>
          </p:cNvSpPr>
          <p:nvPr/>
        </p:nvSpPr>
        <p:spPr bwMode="auto">
          <a:xfrm>
            <a:off x="7290698" y="5604852"/>
            <a:ext cx="457200" cy="457200"/>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3" name="Rectangle 2">
            <a:extLst>
              <a:ext uri="{FF2B5EF4-FFF2-40B4-BE49-F238E27FC236}">
                <a16:creationId xmlns:a16="http://schemas.microsoft.com/office/drawing/2014/main" id="{8AA48128-A6CF-81D3-8E76-C1F11F64BDD8}"/>
              </a:ext>
            </a:extLst>
          </p:cNvPr>
          <p:cNvSpPr/>
          <p:nvPr/>
        </p:nvSpPr>
        <p:spPr>
          <a:xfrm>
            <a:off x="441325" y="2769530"/>
            <a:ext cx="3530599" cy="343220"/>
          </a:xfrm>
          <a:prstGeom prst="rect">
            <a:avLst/>
          </a:prstGeom>
          <a:solidFill>
            <a:schemeClr val="bg2"/>
          </a:solidFill>
          <a:ln>
            <a:noFill/>
          </a:ln>
        </p:spPr>
        <p:style>
          <a:lnRef idx="0">
            <a:schemeClr val="accent1"/>
          </a:lnRef>
          <a:fillRef idx="1">
            <a:schemeClr val="accent1"/>
          </a:fillRef>
          <a:effectRef idx="0">
            <a:schemeClr val="dk1"/>
          </a:effectRef>
          <a:fontRef idx="minor">
            <a:schemeClr val="lt1"/>
          </a:fontRef>
        </p:style>
        <p:txBody>
          <a:bodyPr lIns="72000" tIns="0" rIns="72000" bIns="0" rtlCol="0" anchor="ctr">
            <a:noAutofit/>
          </a:bodyPr>
          <a:lstStyle/>
          <a:p>
            <a:r>
              <a:rPr lang="en-US" sz="1600" b="1" err="1">
                <a:solidFill>
                  <a:schemeClr val="tx1"/>
                </a:solidFill>
                <a:latin typeface="Arial"/>
              </a:rPr>
              <a:t>P</a:t>
            </a:r>
            <a:r>
              <a:rPr lang="en-US" sz="1600" b="1" baseline="0" err="1">
                <a:solidFill>
                  <a:schemeClr val="tx1"/>
                </a:solidFill>
                <a:latin typeface="Arial"/>
              </a:rPr>
              <a:t>asākumu</a:t>
            </a:r>
            <a:r>
              <a:rPr lang="en-US" sz="1600" b="1" baseline="0">
                <a:solidFill>
                  <a:schemeClr val="tx1"/>
                </a:solidFill>
                <a:latin typeface="Arial"/>
              </a:rPr>
              <a:t> </a:t>
            </a:r>
            <a:r>
              <a:rPr lang="en-US" sz="1600" b="1" baseline="0" err="1">
                <a:solidFill>
                  <a:schemeClr val="tx1"/>
                </a:solidFill>
                <a:latin typeface="Arial"/>
              </a:rPr>
              <a:t>kopums</a:t>
            </a:r>
            <a:r>
              <a:rPr lang="lv-LV" sz="1600" b="1" baseline="0">
                <a:solidFill>
                  <a:schemeClr val="tx1"/>
                </a:solidFill>
                <a:latin typeface="Arial"/>
              </a:rPr>
              <a:t>:</a:t>
            </a:r>
            <a:endParaRPr lang="en-GB" sz="1600" b="1">
              <a:solidFill>
                <a:schemeClr val="tx1"/>
              </a:solidFill>
              <a:cs typeface="Arial"/>
            </a:endParaRPr>
          </a:p>
        </p:txBody>
      </p:sp>
      <p:grpSp>
        <p:nvGrpSpPr>
          <p:cNvPr id="20" name="Group 19">
            <a:extLst>
              <a:ext uri="{FF2B5EF4-FFF2-40B4-BE49-F238E27FC236}">
                <a16:creationId xmlns:a16="http://schemas.microsoft.com/office/drawing/2014/main" id="{A3F02589-C859-626A-1362-4612D9F239F4}"/>
              </a:ext>
            </a:extLst>
          </p:cNvPr>
          <p:cNvGrpSpPr/>
          <p:nvPr/>
        </p:nvGrpSpPr>
        <p:grpSpPr>
          <a:xfrm>
            <a:off x="9547520" y="126781"/>
            <a:ext cx="2201568" cy="217488"/>
            <a:chOff x="9066749" y="126781"/>
            <a:chExt cx="2201568" cy="217488"/>
          </a:xfrm>
        </p:grpSpPr>
        <p:sp>
          <p:nvSpPr>
            <p:cNvPr id="28" name="Rectangle 27">
              <a:extLst>
                <a:ext uri="{FF2B5EF4-FFF2-40B4-BE49-F238E27FC236}">
                  <a16:creationId xmlns:a16="http://schemas.microsoft.com/office/drawing/2014/main" id="{F0285ABC-9F03-380A-2DDC-8B9EA5D581B9}"/>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31" name="Rectangle 30">
              <a:extLst>
                <a:ext uri="{FF2B5EF4-FFF2-40B4-BE49-F238E27FC236}">
                  <a16:creationId xmlns:a16="http://schemas.microsoft.com/office/drawing/2014/main" id="{A5125AF1-5D90-2E27-8AED-FC9217BA0CF9}"/>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34" name="Rectangle 33">
              <a:extLst>
                <a:ext uri="{FF2B5EF4-FFF2-40B4-BE49-F238E27FC236}">
                  <a16:creationId xmlns:a16="http://schemas.microsoft.com/office/drawing/2014/main" id="{35EEC45E-247F-31E0-E091-8914C9E308A2}"/>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36" name="Rectangle 35">
              <a:extLst>
                <a:ext uri="{FF2B5EF4-FFF2-40B4-BE49-F238E27FC236}">
                  <a16:creationId xmlns:a16="http://schemas.microsoft.com/office/drawing/2014/main" id="{63F7DBA0-9961-2142-203D-4FBF11A25D9D}"/>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5" name="Rectangle 4">
            <a:extLst>
              <a:ext uri="{FF2B5EF4-FFF2-40B4-BE49-F238E27FC236}">
                <a16:creationId xmlns:a16="http://schemas.microsoft.com/office/drawing/2014/main" id="{D1FAEBBE-8108-361F-6B8D-E84B78D14D6E}"/>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4265792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00267F3-AAB7-0E08-7CC5-CCA5AF1FEB2C}"/>
              </a:ext>
            </a:extLst>
          </p:cNvPr>
          <p:cNvSpPr>
            <a:spLocks noGrp="1"/>
          </p:cNvSpPr>
          <p:nvPr>
            <p:ph type="sldNum" sz="quarter" idx="11"/>
          </p:nvPr>
        </p:nvSpPr>
        <p:spPr/>
        <p:txBody>
          <a:bodyPr/>
          <a:lstStyle/>
          <a:p>
            <a:fld id="{7870704B-CE94-48CC-AF30-84932A1262A7}" type="slidenum">
              <a:rPr lang="en-GB" smtClean="0"/>
              <a:pPr/>
              <a:t>7</a:t>
            </a:fld>
            <a:endParaRPr lang="en-GB"/>
          </a:p>
        </p:txBody>
      </p:sp>
      <p:pic>
        <p:nvPicPr>
          <p:cNvPr id="3" name="Picture 2" descr="A group of people getting into an ambulance&#10;&#10;Description automatically generated">
            <a:extLst>
              <a:ext uri="{FF2B5EF4-FFF2-40B4-BE49-F238E27FC236}">
                <a16:creationId xmlns:a16="http://schemas.microsoft.com/office/drawing/2014/main" id="{738060F3-0A2C-FD1D-A737-6A2D9E225253}"/>
              </a:ext>
            </a:extLst>
          </p:cNvPr>
          <p:cNvPicPr>
            <a:picLocks noChangeAspect="1"/>
          </p:cNvPicPr>
          <p:nvPr/>
        </p:nvPicPr>
        <p:blipFill rotWithShape="1">
          <a:blip r:embed="rId3"/>
          <a:srcRect l="9763" t="26873" r="1383"/>
          <a:stretch/>
        </p:blipFill>
        <p:spPr>
          <a:xfrm>
            <a:off x="8218488" y="1818978"/>
            <a:ext cx="3530600" cy="4354016"/>
          </a:xfrm>
          <a:prstGeom prst="rect">
            <a:avLst/>
          </a:prstGeom>
        </p:spPr>
      </p:pic>
      <p:sp>
        <p:nvSpPr>
          <p:cNvPr id="7" name="Rectangle 6">
            <a:extLst>
              <a:ext uri="{FF2B5EF4-FFF2-40B4-BE49-F238E27FC236}">
                <a16:creationId xmlns:a16="http://schemas.microsoft.com/office/drawing/2014/main" id="{4710850C-656C-1602-C9D3-96F9D30ED5F6}"/>
              </a:ext>
            </a:extLst>
          </p:cNvPr>
          <p:cNvSpPr/>
          <p:nvPr/>
        </p:nvSpPr>
        <p:spPr>
          <a:xfrm>
            <a:off x="442912" y="2748883"/>
            <a:ext cx="7418388" cy="338554"/>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US" altLang="lv-LV" sz="1600" b="1" err="1">
                <a:solidFill>
                  <a:schemeClr val="bg1"/>
                </a:solidFill>
                <a:cs typeface="Arial"/>
              </a:rPr>
              <a:t>Katastrofa</a:t>
            </a:r>
            <a:endParaRPr lang="en-US" sz="1600">
              <a:solidFill>
                <a:schemeClr val="bg1"/>
              </a:solidFill>
            </a:endParaRPr>
          </a:p>
        </p:txBody>
      </p:sp>
      <p:sp>
        <p:nvSpPr>
          <p:cNvPr id="9" name="TextBox 8">
            <a:extLst>
              <a:ext uri="{FF2B5EF4-FFF2-40B4-BE49-F238E27FC236}">
                <a16:creationId xmlns:a16="http://schemas.microsoft.com/office/drawing/2014/main" id="{206A3079-F55B-DAB4-AB3C-297DB2818C7C}"/>
              </a:ext>
            </a:extLst>
          </p:cNvPr>
          <p:cNvSpPr txBox="1"/>
          <p:nvPr/>
        </p:nvSpPr>
        <p:spPr>
          <a:xfrm>
            <a:off x="442912" y="3206048"/>
            <a:ext cx="7418389" cy="1376513"/>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marL="0">
              <a:spcAft>
                <a:spcPts val="600"/>
              </a:spcAft>
              <a:buNone/>
            </a:pPr>
            <a:r>
              <a:rPr lang="en-US" sz="1600" err="1">
                <a:ea typeface="+mn-lt"/>
                <a:cs typeface="+mn-lt"/>
              </a:rPr>
              <a:t>Notikums</a:t>
            </a:r>
            <a:r>
              <a:rPr lang="en-US" sz="1600">
                <a:ea typeface="+mn-lt"/>
                <a:cs typeface="+mn-lt"/>
              </a:rPr>
              <a:t>, kas </a:t>
            </a:r>
            <a:r>
              <a:rPr lang="en-US" sz="1600" err="1">
                <a:ea typeface="+mn-lt"/>
                <a:cs typeface="+mn-lt"/>
              </a:rPr>
              <a:t>izraisījis</a:t>
            </a:r>
            <a:r>
              <a:rPr lang="en-US" sz="1600">
                <a:ea typeface="+mn-lt"/>
                <a:cs typeface="+mn-lt"/>
              </a:rPr>
              <a:t> </a:t>
            </a:r>
            <a:r>
              <a:rPr lang="en-US" sz="1600" err="1">
                <a:ea typeface="+mn-lt"/>
                <a:cs typeface="+mn-lt"/>
              </a:rPr>
              <a:t>cilvēku</a:t>
            </a:r>
            <a:r>
              <a:rPr lang="en-US" sz="1600">
                <a:ea typeface="+mn-lt"/>
                <a:cs typeface="+mn-lt"/>
              </a:rPr>
              <a:t> </a:t>
            </a:r>
            <a:r>
              <a:rPr lang="en-US" sz="1600" err="1">
                <a:ea typeface="+mn-lt"/>
                <a:cs typeface="+mn-lt"/>
              </a:rPr>
              <a:t>upurus</a:t>
            </a:r>
            <a:r>
              <a:rPr lang="en-US" sz="1600">
                <a:ea typeface="+mn-lt"/>
                <a:cs typeface="+mn-lt"/>
              </a:rPr>
              <a:t> un </a:t>
            </a:r>
            <a:r>
              <a:rPr lang="en-US" sz="1600" err="1">
                <a:ea typeface="+mn-lt"/>
                <a:cs typeface="+mn-lt"/>
              </a:rPr>
              <a:t>apdraud</a:t>
            </a:r>
            <a:r>
              <a:rPr lang="en-US" sz="1600">
                <a:ea typeface="+mn-lt"/>
                <a:cs typeface="+mn-lt"/>
              </a:rPr>
              <a:t> </a:t>
            </a:r>
            <a:r>
              <a:rPr lang="en-US" sz="1600" err="1">
                <a:ea typeface="+mn-lt"/>
                <a:cs typeface="+mn-lt"/>
              </a:rPr>
              <a:t>cilvēku</a:t>
            </a:r>
            <a:r>
              <a:rPr lang="en-US" sz="1600">
                <a:ea typeface="+mn-lt"/>
                <a:cs typeface="+mn-lt"/>
              </a:rPr>
              <a:t> </a:t>
            </a:r>
            <a:r>
              <a:rPr lang="en-US" sz="1600" err="1">
                <a:ea typeface="+mn-lt"/>
                <a:cs typeface="+mn-lt"/>
              </a:rPr>
              <a:t>dzīvību</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veselību</a:t>
            </a:r>
            <a:r>
              <a:rPr lang="en-US" sz="1600">
                <a:ea typeface="+mn-lt"/>
                <a:cs typeface="+mn-lt"/>
              </a:rPr>
              <a:t>, </a:t>
            </a:r>
            <a:r>
              <a:rPr lang="en-US" sz="1600" err="1">
                <a:ea typeface="+mn-lt"/>
                <a:cs typeface="+mn-lt"/>
              </a:rPr>
              <a:t>nodarījis</a:t>
            </a:r>
            <a:r>
              <a:rPr lang="en-US" sz="1600">
                <a:ea typeface="+mn-lt"/>
                <a:cs typeface="+mn-lt"/>
              </a:rPr>
              <a:t> </a:t>
            </a:r>
            <a:r>
              <a:rPr lang="en-US" sz="1600" err="1">
                <a:ea typeface="+mn-lt"/>
                <a:cs typeface="+mn-lt"/>
              </a:rPr>
              <a:t>kaitējumu</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radījis</a:t>
            </a:r>
            <a:r>
              <a:rPr lang="en-US" sz="1600">
                <a:ea typeface="+mn-lt"/>
                <a:cs typeface="+mn-lt"/>
              </a:rPr>
              <a:t> </a:t>
            </a:r>
            <a:r>
              <a:rPr lang="en-US" sz="1600" err="1">
                <a:ea typeface="+mn-lt"/>
                <a:cs typeface="+mn-lt"/>
              </a:rPr>
              <a:t>apdraudējumu</a:t>
            </a:r>
            <a:r>
              <a:rPr lang="en-US" sz="1600">
                <a:ea typeface="+mn-lt"/>
                <a:cs typeface="+mn-lt"/>
              </a:rPr>
              <a:t> </a:t>
            </a:r>
            <a:r>
              <a:rPr lang="en-US" sz="1600" err="1">
                <a:ea typeface="+mn-lt"/>
                <a:cs typeface="+mn-lt"/>
              </a:rPr>
              <a:t>cilvēkiem</a:t>
            </a:r>
            <a:r>
              <a:rPr lang="en-US" sz="1600">
                <a:ea typeface="+mn-lt"/>
                <a:cs typeface="+mn-lt"/>
              </a:rPr>
              <a:t>, </a:t>
            </a:r>
            <a:r>
              <a:rPr lang="en-US" sz="1600" err="1">
                <a:ea typeface="+mn-lt"/>
                <a:cs typeface="+mn-lt"/>
              </a:rPr>
              <a:t>videi</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īpašumam</a:t>
            </a:r>
            <a:r>
              <a:rPr lang="en-US" sz="1600">
                <a:ea typeface="+mn-lt"/>
                <a:cs typeface="+mn-lt"/>
              </a:rPr>
              <a:t>, </a:t>
            </a:r>
            <a:r>
              <a:rPr lang="en-US" sz="1600" err="1">
                <a:ea typeface="+mn-lt"/>
                <a:cs typeface="+mn-lt"/>
              </a:rPr>
              <a:t>kā</a:t>
            </a:r>
            <a:r>
              <a:rPr lang="en-US" sz="1600">
                <a:ea typeface="+mn-lt"/>
                <a:cs typeface="+mn-lt"/>
              </a:rPr>
              <a:t> </a:t>
            </a:r>
            <a:r>
              <a:rPr lang="en-US" sz="1600" err="1">
                <a:ea typeface="+mn-lt"/>
                <a:cs typeface="+mn-lt"/>
              </a:rPr>
              <a:t>arī</a:t>
            </a:r>
            <a:r>
              <a:rPr lang="en-US" sz="1600">
                <a:ea typeface="+mn-lt"/>
                <a:cs typeface="+mn-lt"/>
              </a:rPr>
              <a:t> </a:t>
            </a:r>
            <a:r>
              <a:rPr lang="en-US" sz="1600" err="1">
                <a:ea typeface="+mn-lt"/>
                <a:cs typeface="+mn-lt"/>
              </a:rPr>
              <a:t>radījis</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rada</a:t>
            </a:r>
            <a:r>
              <a:rPr lang="en-US" sz="1600">
                <a:ea typeface="+mn-lt"/>
                <a:cs typeface="+mn-lt"/>
              </a:rPr>
              <a:t> </a:t>
            </a:r>
            <a:r>
              <a:rPr lang="en-US" sz="1600" err="1">
                <a:ea typeface="+mn-lt"/>
                <a:cs typeface="+mn-lt"/>
              </a:rPr>
              <a:t>būtiskus</a:t>
            </a:r>
            <a:r>
              <a:rPr lang="en-US" sz="1600">
                <a:ea typeface="+mn-lt"/>
                <a:cs typeface="+mn-lt"/>
              </a:rPr>
              <a:t> </a:t>
            </a:r>
            <a:r>
              <a:rPr lang="en-US" sz="1600" err="1">
                <a:ea typeface="+mn-lt"/>
                <a:cs typeface="+mn-lt"/>
              </a:rPr>
              <a:t>materiālos</a:t>
            </a:r>
            <a:r>
              <a:rPr lang="en-US" sz="1600">
                <a:ea typeface="+mn-lt"/>
                <a:cs typeface="+mn-lt"/>
              </a:rPr>
              <a:t> un </a:t>
            </a:r>
            <a:r>
              <a:rPr lang="en-US" sz="1600" err="1">
                <a:ea typeface="+mn-lt"/>
                <a:cs typeface="+mn-lt"/>
              </a:rPr>
              <a:t>finansiālos</a:t>
            </a:r>
            <a:r>
              <a:rPr lang="en-US" sz="1600">
                <a:ea typeface="+mn-lt"/>
                <a:cs typeface="+mn-lt"/>
              </a:rPr>
              <a:t> </a:t>
            </a:r>
            <a:r>
              <a:rPr lang="en-US" sz="1600" err="1">
                <a:ea typeface="+mn-lt"/>
                <a:cs typeface="+mn-lt"/>
              </a:rPr>
              <a:t>zaudējumus</a:t>
            </a:r>
            <a:r>
              <a:rPr lang="en-US" sz="1600">
                <a:ea typeface="+mn-lt"/>
                <a:cs typeface="+mn-lt"/>
              </a:rPr>
              <a:t> un </a:t>
            </a:r>
            <a:r>
              <a:rPr lang="en-US" sz="1600" err="1">
                <a:ea typeface="+mn-lt"/>
                <a:cs typeface="+mn-lt"/>
              </a:rPr>
              <a:t>pārsniedz</a:t>
            </a:r>
            <a:r>
              <a:rPr lang="en-US" sz="1600">
                <a:ea typeface="+mn-lt"/>
                <a:cs typeface="+mn-lt"/>
              </a:rPr>
              <a:t> </a:t>
            </a:r>
            <a:r>
              <a:rPr lang="en-US" sz="1600" err="1">
                <a:ea typeface="+mn-lt"/>
                <a:cs typeface="+mn-lt"/>
              </a:rPr>
              <a:t>atbildīgo</a:t>
            </a:r>
            <a:r>
              <a:rPr lang="en-US" sz="1600">
                <a:ea typeface="+mn-lt"/>
                <a:cs typeface="+mn-lt"/>
              </a:rPr>
              <a:t> </a:t>
            </a:r>
            <a:r>
              <a:rPr lang="en-US" sz="1600" err="1">
                <a:ea typeface="+mn-lt"/>
                <a:cs typeface="+mn-lt"/>
              </a:rPr>
              <a:t>valsts</a:t>
            </a:r>
            <a:r>
              <a:rPr lang="en-US" sz="1600">
                <a:ea typeface="+mn-lt"/>
                <a:cs typeface="+mn-lt"/>
              </a:rPr>
              <a:t> un </a:t>
            </a:r>
            <a:r>
              <a:rPr lang="en-US" sz="1600" err="1">
                <a:ea typeface="+mn-lt"/>
                <a:cs typeface="+mn-lt"/>
              </a:rPr>
              <a:t>pašvaldības</a:t>
            </a:r>
            <a:r>
              <a:rPr lang="en-US" sz="1600">
                <a:ea typeface="+mn-lt"/>
                <a:cs typeface="+mn-lt"/>
              </a:rPr>
              <a:t> </a:t>
            </a:r>
            <a:r>
              <a:rPr lang="en-US" sz="1600" err="1">
                <a:ea typeface="+mn-lt"/>
                <a:cs typeface="+mn-lt"/>
              </a:rPr>
              <a:t>institūciju</a:t>
            </a:r>
            <a:r>
              <a:rPr lang="en-US" sz="1600">
                <a:ea typeface="+mn-lt"/>
                <a:cs typeface="+mn-lt"/>
              </a:rPr>
              <a:t> </a:t>
            </a:r>
            <a:r>
              <a:rPr lang="en-US" sz="1600" err="1">
                <a:ea typeface="+mn-lt"/>
                <a:cs typeface="+mn-lt"/>
              </a:rPr>
              <a:t>ikdienas</a:t>
            </a:r>
            <a:r>
              <a:rPr lang="en-US" sz="1600">
                <a:ea typeface="+mn-lt"/>
                <a:cs typeface="+mn-lt"/>
              </a:rPr>
              <a:t> </a:t>
            </a:r>
            <a:r>
              <a:rPr lang="en-US" sz="1600" err="1">
                <a:ea typeface="+mn-lt"/>
                <a:cs typeface="+mn-lt"/>
              </a:rPr>
              <a:t>spējas</a:t>
            </a:r>
            <a:r>
              <a:rPr lang="en-US" sz="1600">
                <a:ea typeface="+mn-lt"/>
                <a:cs typeface="+mn-lt"/>
              </a:rPr>
              <a:t> </a:t>
            </a:r>
            <a:r>
              <a:rPr lang="en-US" sz="1600" err="1">
                <a:ea typeface="+mn-lt"/>
                <a:cs typeface="+mn-lt"/>
              </a:rPr>
              <a:t>novērst</a:t>
            </a:r>
            <a:r>
              <a:rPr lang="en-US" sz="1600">
                <a:ea typeface="+mn-lt"/>
                <a:cs typeface="+mn-lt"/>
              </a:rPr>
              <a:t> </a:t>
            </a:r>
            <a:r>
              <a:rPr lang="en-US" sz="1600" err="1">
                <a:ea typeface="+mn-lt"/>
                <a:cs typeface="+mn-lt"/>
              </a:rPr>
              <a:t>notikuma</a:t>
            </a:r>
            <a:r>
              <a:rPr lang="en-US" sz="1600">
                <a:ea typeface="+mn-lt"/>
                <a:cs typeface="+mn-lt"/>
              </a:rPr>
              <a:t> </a:t>
            </a:r>
            <a:r>
              <a:rPr lang="en-US" sz="1600" err="1">
                <a:ea typeface="+mn-lt"/>
                <a:cs typeface="+mn-lt"/>
              </a:rPr>
              <a:t>postošos</a:t>
            </a:r>
            <a:r>
              <a:rPr lang="en-US" sz="1600">
                <a:ea typeface="+mn-lt"/>
                <a:cs typeface="+mn-lt"/>
              </a:rPr>
              <a:t> </a:t>
            </a:r>
            <a:r>
              <a:rPr lang="en-US" sz="1600" err="1">
                <a:ea typeface="+mn-lt"/>
                <a:cs typeface="+mn-lt"/>
              </a:rPr>
              <a:t>apstākļus</a:t>
            </a:r>
            <a:r>
              <a:rPr lang="en-US" sz="1600">
                <a:ea typeface="+mn-lt"/>
                <a:cs typeface="+mn-lt"/>
              </a:rPr>
              <a:t>.</a:t>
            </a:r>
            <a:endParaRPr lang="en-US" sz="1600">
              <a:cs typeface="Arial"/>
            </a:endParaRPr>
          </a:p>
        </p:txBody>
      </p:sp>
      <p:sp>
        <p:nvSpPr>
          <p:cNvPr id="13" name="Rectangle 12">
            <a:extLst>
              <a:ext uri="{FF2B5EF4-FFF2-40B4-BE49-F238E27FC236}">
                <a16:creationId xmlns:a16="http://schemas.microsoft.com/office/drawing/2014/main" id="{534243E8-F0BB-2E4C-C486-5AAC6F87F006}"/>
              </a:ext>
            </a:extLst>
          </p:cNvPr>
          <p:cNvSpPr/>
          <p:nvPr/>
        </p:nvSpPr>
        <p:spPr>
          <a:xfrm>
            <a:off x="444499" y="4944511"/>
            <a:ext cx="7418388" cy="338554"/>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noAutofit/>
          </a:bodyPr>
          <a:lstStyle/>
          <a:p>
            <a:pPr>
              <a:lnSpc>
                <a:spcPct val="100000"/>
              </a:lnSpc>
            </a:pPr>
            <a:r>
              <a:rPr lang="en-US" sz="1600" b="1" err="1">
                <a:solidFill>
                  <a:schemeClr val="bg1"/>
                </a:solidFill>
                <a:ea typeface="+mn-lt"/>
                <a:cs typeface="+mn-lt"/>
              </a:rPr>
              <a:t>Katastrofas</a:t>
            </a:r>
            <a:r>
              <a:rPr lang="en-US" sz="1600" b="1">
                <a:solidFill>
                  <a:schemeClr val="bg1"/>
                </a:solidFill>
                <a:ea typeface="+mn-lt"/>
                <a:cs typeface="+mn-lt"/>
              </a:rPr>
              <a:t> </a:t>
            </a:r>
            <a:r>
              <a:rPr lang="en-US" sz="1600" b="1" err="1">
                <a:solidFill>
                  <a:schemeClr val="bg1"/>
                </a:solidFill>
                <a:ea typeface="+mn-lt"/>
                <a:cs typeface="+mn-lt"/>
              </a:rPr>
              <a:t>draudi</a:t>
            </a:r>
            <a:endParaRPr lang="en-US" sz="1600">
              <a:solidFill>
                <a:schemeClr val="bg1"/>
              </a:solidFill>
            </a:endParaRPr>
          </a:p>
        </p:txBody>
      </p:sp>
      <p:sp>
        <p:nvSpPr>
          <p:cNvPr id="14" name="TextBox 13">
            <a:extLst>
              <a:ext uri="{FF2B5EF4-FFF2-40B4-BE49-F238E27FC236}">
                <a16:creationId xmlns:a16="http://schemas.microsoft.com/office/drawing/2014/main" id="{375F725A-84D8-EC1E-849E-F6F7C7B53DA2}"/>
              </a:ext>
            </a:extLst>
          </p:cNvPr>
          <p:cNvSpPr txBox="1"/>
          <p:nvPr/>
        </p:nvSpPr>
        <p:spPr>
          <a:xfrm>
            <a:off x="444499" y="5393210"/>
            <a:ext cx="7418389" cy="779784"/>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a:spcAft>
                <a:spcPts val="600"/>
              </a:spcAft>
              <a:buNone/>
            </a:pPr>
            <a:r>
              <a:rPr lang="en-US" sz="1600">
                <a:ea typeface="+mn-lt"/>
                <a:cs typeface="+mn-lt"/>
              </a:rPr>
              <a:t>Situācija, </a:t>
            </a:r>
            <a:r>
              <a:rPr lang="en-US" sz="1600" err="1">
                <a:ea typeface="+mn-lt"/>
                <a:cs typeface="+mn-lt"/>
              </a:rPr>
              <a:t>kad</a:t>
            </a:r>
            <a:r>
              <a:rPr lang="en-US" sz="1600">
                <a:ea typeface="+mn-lt"/>
                <a:cs typeface="+mn-lt"/>
              </a:rPr>
              <a:t> </a:t>
            </a:r>
            <a:r>
              <a:rPr lang="en-US" sz="1600" err="1">
                <a:ea typeface="+mn-lt"/>
                <a:cs typeface="+mn-lt"/>
              </a:rPr>
              <a:t>risku</a:t>
            </a:r>
            <a:r>
              <a:rPr lang="en-US" sz="1600">
                <a:ea typeface="+mn-lt"/>
                <a:cs typeface="+mn-lt"/>
              </a:rPr>
              <a:t> </a:t>
            </a:r>
            <a:r>
              <a:rPr lang="en-US" sz="1600" err="1">
                <a:ea typeface="+mn-lt"/>
                <a:cs typeface="+mn-lt"/>
              </a:rPr>
              <a:t>novērtējums</a:t>
            </a:r>
            <a:r>
              <a:rPr lang="en-US" sz="1600">
                <a:ea typeface="+mn-lt"/>
                <a:cs typeface="+mn-lt"/>
              </a:rPr>
              <a:t>, </a:t>
            </a:r>
            <a:r>
              <a:rPr lang="en-US" sz="1600" err="1">
                <a:ea typeface="+mn-lt"/>
                <a:cs typeface="+mn-lt"/>
              </a:rPr>
              <a:t>prognozes</a:t>
            </a:r>
            <a:r>
              <a:rPr lang="en-US" sz="1600">
                <a:ea typeface="+mn-lt"/>
                <a:cs typeface="+mn-lt"/>
              </a:rPr>
              <a:t>, </a:t>
            </a:r>
            <a:r>
              <a:rPr lang="en-US" sz="1600" err="1">
                <a:ea typeface="+mn-lt"/>
                <a:cs typeface="+mn-lt"/>
              </a:rPr>
              <a:t>informācija</a:t>
            </a:r>
            <a:r>
              <a:rPr lang="en-US" sz="1600">
                <a:ea typeface="+mn-lt"/>
                <a:cs typeface="+mn-lt"/>
              </a:rPr>
              <a:t> </a:t>
            </a:r>
            <a:r>
              <a:rPr lang="en-US" sz="1600" err="1">
                <a:ea typeface="+mn-lt"/>
                <a:cs typeface="+mn-lt"/>
              </a:rPr>
              <a:t>vai</a:t>
            </a:r>
            <a:r>
              <a:rPr lang="en-US" sz="1600">
                <a:ea typeface="+mn-lt"/>
                <a:cs typeface="+mn-lt"/>
              </a:rPr>
              <a:t> </a:t>
            </a:r>
            <a:r>
              <a:rPr lang="en-US" sz="1600" err="1">
                <a:ea typeface="+mn-lt"/>
                <a:cs typeface="+mn-lt"/>
              </a:rPr>
              <a:t>citi</a:t>
            </a:r>
            <a:r>
              <a:rPr lang="en-US" sz="1600">
                <a:ea typeface="+mn-lt"/>
                <a:cs typeface="+mn-lt"/>
              </a:rPr>
              <a:t> </a:t>
            </a:r>
            <a:r>
              <a:rPr lang="en-US" sz="1600" err="1">
                <a:ea typeface="+mn-lt"/>
                <a:cs typeface="+mn-lt"/>
              </a:rPr>
              <a:t>apstākļi</a:t>
            </a:r>
            <a:r>
              <a:rPr lang="en-US" sz="1600">
                <a:ea typeface="+mn-lt"/>
                <a:cs typeface="+mn-lt"/>
              </a:rPr>
              <a:t> </a:t>
            </a:r>
            <a:r>
              <a:rPr lang="en-US" sz="1600" err="1">
                <a:ea typeface="+mn-lt"/>
                <a:cs typeface="+mn-lt"/>
              </a:rPr>
              <a:t>pamatoti</a:t>
            </a:r>
            <a:r>
              <a:rPr lang="en-US" sz="1600">
                <a:ea typeface="+mn-lt"/>
                <a:cs typeface="+mn-lt"/>
              </a:rPr>
              <a:t> </a:t>
            </a:r>
            <a:r>
              <a:rPr lang="en-US" sz="1600" err="1">
                <a:ea typeface="+mn-lt"/>
                <a:cs typeface="+mn-lt"/>
              </a:rPr>
              <a:t>liecina</a:t>
            </a:r>
            <a:r>
              <a:rPr lang="en-US" sz="1600">
                <a:ea typeface="+mn-lt"/>
                <a:cs typeface="+mn-lt"/>
              </a:rPr>
              <a:t> par </a:t>
            </a:r>
            <a:r>
              <a:rPr lang="en-US" sz="1600" err="1">
                <a:ea typeface="+mn-lt"/>
                <a:cs typeface="+mn-lt"/>
              </a:rPr>
              <a:t>katastrofas</a:t>
            </a:r>
            <a:r>
              <a:rPr lang="en-US" sz="1600">
                <a:ea typeface="+mn-lt"/>
                <a:cs typeface="+mn-lt"/>
              </a:rPr>
              <a:t> </a:t>
            </a:r>
            <a:r>
              <a:rPr lang="en-US" sz="1600" err="1">
                <a:ea typeface="+mn-lt"/>
                <a:cs typeface="+mn-lt"/>
              </a:rPr>
              <a:t>iespējamību</a:t>
            </a:r>
            <a:r>
              <a:rPr lang="en-US" sz="1600">
                <a:ea typeface="+mn-lt"/>
                <a:cs typeface="+mn-lt"/>
              </a:rPr>
              <a:t>.</a:t>
            </a:r>
            <a:endParaRPr lang="en-US" sz="1600">
              <a:cs typeface="Arial"/>
            </a:endParaRPr>
          </a:p>
        </p:txBody>
      </p:sp>
      <p:sp>
        <p:nvSpPr>
          <p:cNvPr id="15" name="Rectangle 14">
            <a:extLst>
              <a:ext uri="{FF2B5EF4-FFF2-40B4-BE49-F238E27FC236}">
                <a16:creationId xmlns:a16="http://schemas.microsoft.com/office/drawing/2014/main" id="{5F04E4BB-5A87-1730-390B-14D5FC4ED5DC}"/>
              </a:ext>
            </a:extLst>
          </p:cNvPr>
          <p:cNvSpPr/>
          <p:nvPr/>
        </p:nvSpPr>
        <p:spPr>
          <a:xfrm>
            <a:off x="1139875" y="1825559"/>
            <a:ext cx="6717078" cy="585592"/>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72000" tIns="72000" rIns="72000" bIns="72000" rtlCol="0" anchor="ctr"/>
          <a:lstStyle/>
          <a:p>
            <a:pPr marL="0" indent="0">
              <a:spcAft>
                <a:spcPts val="600"/>
              </a:spcAft>
              <a:buNone/>
            </a:pPr>
            <a:r>
              <a:rPr lang="en-US" altLang="lv-LV" sz="1600" b="1" dirty="0" err="1">
                <a:solidFill>
                  <a:schemeClr val="tx1"/>
                </a:solidFill>
                <a:cs typeface="Arial"/>
              </a:rPr>
              <a:t>Civilās</a:t>
            </a:r>
            <a:r>
              <a:rPr lang="en-US" altLang="lv-LV" sz="1600" b="1" dirty="0">
                <a:solidFill>
                  <a:schemeClr val="tx1"/>
                </a:solidFill>
                <a:cs typeface="Arial"/>
              </a:rPr>
              <a:t> </a:t>
            </a:r>
            <a:r>
              <a:rPr lang="en-US" altLang="lv-LV" sz="1600" b="1" dirty="0" err="1">
                <a:solidFill>
                  <a:schemeClr val="tx1"/>
                </a:solidFill>
                <a:cs typeface="Arial"/>
              </a:rPr>
              <a:t>aizsardzības</a:t>
            </a:r>
            <a:r>
              <a:rPr lang="en-US" altLang="lv-LV" sz="1600" b="1" dirty="0">
                <a:solidFill>
                  <a:schemeClr val="tx1"/>
                </a:solidFill>
                <a:cs typeface="Arial"/>
              </a:rPr>
              <a:t> un </a:t>
            </a:r>
            <a:r>
              <a:rPr lang="en-US" altLang="lv-LV" sz="1600" b="1" dirty="0" err="1">
                <a:solidFill>
                  <a:schemeClr val="tx1"/>
                </a:solidFill>
                <a:cs typeface="Arial"/>
              </a:rPr>
              <a:t>katastrof</a:t>
            </a:r>
            <a:r>
              <a:rPr lang="lv-LV" altLang="lv-LV" sz="1600" b="1" dirty="0" err="1">
                <a:solidFill>
                  <a:schemeClr val="tx1"/>
                </a:solidFill>
                <a:cs typeface="Arial"/>
              </a:rPr>
              <a:t>as</a:t>
            </a:r>
            <a:r>
              <a:rPr lang="en-US" altLang="lv-LV" sz="1600" b="1" dirty="0">
                <a:solidFill>
                  <a:schemeClr val="tx1"/>
                </a:solidFill>
                <a:cs typeface="Arial"/>
              </a:rPr>
              <a:t> </a:t>
            </a:r>
            <a:r>
              <a:rPr lang="en-US" altLang="lv-LV" sz="1600" b="1" dirty="0" err="1">
                <a:solidFill>
                  <a:schemeClr val="tx1"/>
                </a:solidFill>
                <a:cs typeface="Arial"/>
              </a:rPr>
              <a:t>pārvaldīšanas</a:t>
            </a:r>
            <a:r>
              <a:rPr lang="en-US" altLang="lv-LV" sz="1600" b="1" dirty="0">
                <a:solidFill>
                  <a:schemeClr val="tx1"/>
                </a:solidFill>
                <a:cs typeface="Arial"/>
              </a:rPr>
              <a:t> </a:t>
            </a:r>
            <a:r>
              <a:rPr lang="en-US" altLang="lv-LV" sz="1600" b="1" dirty="0" err="1">
                <a:solidFill>
                  <a:schemeClr val="tx1"/>
                </a:solidFill>
                <a:cs typeface="Arial"/>
              </a:rPr>
              <a:t>likum</a:t>
            </a:r>
            <a:r>
              <a:rPr lang="lv-LV" altLang="lv-LV" sz="1600" b="1" dirty="0">
                <a:solidFill>
                  <a:schemeClr val="tx1"/>
                </a:solidFill>
                <a:cs typeface="Arial"/>
              </a:rPr>
              <a:t>ā noteiktās definīcijas:</a:t>
            </a:r>
            <a:endParaRPr lang="en-US" altLang="lv-LV" sz="1600" b="1" dirty="0">
              <a:solidFill>
                <a:schemeClr val="tx1"/>
              </a:solidFill>
              <a:cs typeface="Arial"/>
            </a:endParaRPr>
          </a:p>
        </p:txBody>
      </p:sp>
      <p:sp>
        <p:nvSpPr>
          <p:cNvPr id="16" name="Rectangle 15">
            <a:extLst>
              <a:ext uri="{FF2B5EF4-FFF2-40B4-BE49-F238E27FC236}">
                <a16:creationId xmlns:a16="http://schemas.microsoft.com/office/drawing/2014/main" id="{A29F126B-D970-734A-3EE9-108F51EA3847}"/>
              </a:ext>
            </a:extLst>
          </p:cNvPr>
          <p:cNvSpPr/>
          <p:nvPr/>
        </p:nvSpPr>
        <p:spPr>
          <a:xfrm>
            <a:off x="442912" y="1828538"/>
            <a:ext cx="586800" cy="585788"/>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 name="Rectangle 18">
            <a:extLst>
              <a:ext uri="{FF2B5EF4-FFF2-40B4-BE49-F238E27FC236}">
                <a16:creationId xmlns:a16="http://schemas.microsoft.com/office/drawing/2014/main" id="{714A4844-D40D-9D22-F128-3AD7F735B2D0}"/>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 name="Freeform 20">
            <a:extLst>
              <a:ext uri="{FF2B5EF4-FFF2-40B4-BE49-F238E27FC236}">
                <a16:creationId xmlns:a16="http://schemas.microsoft.com/office/drawing/2014/main" id="{E1AE871F-ADA3-8515-282C-0BC4C9C3AA30}"/>
              </a:ext>
            </a:extLst>
          </p:cNvPr>
          <p:cNvSpPr>
            <a:spLocks noChangeAspect="1" noEditPoints="1"/>
          </p:cNvSpPr>
          <p:nvPr/>
        </p:nvSpPr>
        <p:spPr bwMode="auto">
          <a:xfrm>
            <a:off x="508001" y="1892832"/>
            <a:ext cx="455613" cy="4572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800">
              <a:solidFill>
                <a:schemeClr val="accent1"/>
              </a:solidFill>
            </a:endParaRPr>
          </a:p>
        </p:txBody>
      </p:sp>
      <p:sp>
        <p:nvSpPr>
          <p:cNvPr id="6" name="Title 6">
            <a:extLst>
              <a:ext uri="{FF2B5EF4-FFF2-40B4-BE49-F238E27FC236}">
                <a16:creationId xmlns:a16="http://schemas.microsoft.com/office/drawing/2014/main" id="{024702ED-BD08-B0F2-E0A5-2DE1488CF272}"/>
              </a:ext>
            </a:extLst>
          </p:cNvPr>
          <p:cNvSpPr txBox="1">
            <a:spLocks/>
          </p:cNvSpPr>
          <p:nvPr/>
        </p:nvSpPr>
        <p:spPr>
          <a:xfrm>
            <a:off x="442913" y="432001"/>
            <a:ext cx="11306175" cy="1387274"/>
          </a:xfrm>
          <a:prstGeom prst="rect">
            <a:avLst/>
          </a:prstGeom>
        </p:spPr>
        <p:txBody>
          <a:bodyPr vert="horz">
            <a:norm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r>
              <a:rPr lang="lv-LV" altLang="lv-LV"/>
              <a:t>Katastrofas jēdziens</a:t>
            </a:r>
            <a:endParaRPr lang="en-US"/>
          </a:p>
        </p:txBody>
      </p:sp>
      <p:grpSp>
        <p:nvGrpSpPr>
          <p:cNvPr id="23" name="Group 22">
            <a:extLst>
              <a:ext uri="{FF2B5EF4-FFF2-40B4-BE49-F238E27FC236}">
                <a16:creationId xmlns:a16="http://schemas.microsoft.com/office/drawing/2014/main" id="{56D40331-7E5C-8FAF-8A6E-E2561027BE68}"/>
              </a:ext>
            </a:extLst>
          </p:cNvPr>
          <p:cNvGrpSpPr/>
          <p:nvPr/>
        </p:nvGrpSpPr>
        <p:grpSpPr>
          <a:xfrm>
            <a:off x="9547520" y="126781"/>
            <a:ext cx="2201568" cy="217488"/>
            <a:chOff x="9066749" y="126781"/>
            <a:chExt cx="2201568" cy="217488"/>
          </a:xfrm>
        </p:grpSpPr>
        <p:sp>
          <p:nvSpPr>
            <p:cNvPr id="24" name="Rectangle 23">
              <a:extLst>
                <a:ext uri="{FF2B5EF4-FFF2-40B4-BE49-F238E27FC236}">
                  <a16:creationId xmlns:a16="http://schemas.microsoft.com/office/drawing/2014/main" id="{ADF2E7D4-B47B-D17A-771A-419F9239F7F0}"/>
                </a:ext>
              </a:extLst>
            </p:cNvPr>
            <p:cNvSpPr/>
            <p:nvPr/>
          </p:nvSpPr>
          <p:spPr>
            <a:xfrm>
              <a:off x="906674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1</a:t>
              </a:r>
              <a:endParaRPr kumimoji="0" lang="lv-LV" sz="800" b="1" i="0" u="none" strike="noStrike" kern="0" cap="none" spc="0" normalizeH="0" baseline="0" noProof="0">
                <a:ln>
                  <a:noFill/>
                </a:ln>
                <a:effectLst/>
                <a:uLnTx/>
                <a:uFillTx/>
                <a:ea typeface="Georgia"/>
                <a:cs typeface="Georgia"/>
                <a:sym typeface="Georgia"/>
              </a:endParaRPr>
            </a:p>
          </p:txBody>
        </p:sp>
        <p:sp>
          <p:nvSpPr>
            <p:cNvPr id="25" name="Rectangle 24">
              <a:extLst>
                <a:ext uri="{FF2B5EF4-FFF2-40B4-BE49-F238E27FC236}">
                  <a16:creationId xmlns:a16="http://schemas.microsoft.com/office/drawing/2014/main" id="{7AB79EFF-9995-725A-DCF6-480D63E2AEE0}"/>
                </a:ext>
              </a:extLst>
            </p:cNvPr>
            <p:cNvSpPr/>
            <p:nvPr/>
          </p:nvSpPr>
          <p:spPr>
            <a:xfrm>
              <a:off x="9310016" y="126781"/>
              <a:ext cx="1477533"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jēdziens</a:t>
              </a:r>
            </a:p>
          </p:txBody>
        </p:sp>
        <p:sp>
          <p:nvSpPr>
            <p:cNvPr id="26" name="Rectangle 25">
              <a:extLst>
                <a:ext uri="{FF2B5EF4-FFF2-40B4-BE49-F238E27FC236}">
                  <a16:creationId xmlns:a16="http://schemas.microsoft.com/office/drawing/2014/main" id="{51B287D8-0151-F489-E71A-805FE81BD627}"/>
                </a:ext>
              </a:extLst>
            </p:cNvPr>
            <p:cNvSpPr/>
            <p:nvPr/>
          </p:nvSpPr>
          <p:spPr>
            <a:xfrm>
              <a:off x="10811931"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2</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27" name="Rectangle 26">
              <a:extLst>
                <a:ext uri="{FF2B5EF4-FFF2-40B4-BE49-F238E27FC236}">
                  <a16:creationId xmlns:a16="http://schemas.microsoft.com/office/drawing/2014/main" id="{77EDDECC-2FD8-9A8F-D5A7-64D550120D0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8" name="Rectangle 7">
            <a:extLst>
              <a:ext uri="{FF2B5EF4-FFF2-40B4-BE49-F238E27FC236}">
                <a16:creationId xmlns:a16="http://schemas.microsoft.com/office/drawing/2014/main" id="{657916B2-BFEA-7F71-7294-3FD8FECC37E6}"/>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spTree>
    <p:extLst>
      <p:ext uri="{BB962C8B-B14F-4D97-AF65-F5344CB8AC3E}">
        <p14:creationId xmlns:p14="http://schemas.microsoft.com/office/powerpoint/2010/main" val="1709250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18BDC09F-94CD-8045-5329-EDB6910A0F23}"/>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5AE6992D-0C7D-6B58-0049-E24A6C6538F1}"/>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E8388CD3-FD0C-8A22-D109-03BBA42F4EB4}"/>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r>
              <a:rPr lang="lv-LV" sz="4400">
                <a:latin typeface="+mj-lt"/>
              </a:rPr>
              <a:t>1.2. Civilās aizsardzības </a:t>
            </a:r>
            <a:endParaRPr lang="en-US" sz="4400">
              <a:latin typeface="+mj-lt"/>
            </a:endParaRPr>
          </a:p>
          <a:p>
            <a:r>
              <a:rPr lang="lv-LV" sz="4400">
                <a:latin typeface="+mj-lt"/>
              </a:rPr>
              <a:t>sistēmas uzdevumi</a:t>
            </a:r>
            <a:endParaRPr lang="en-US" sz="4400">
              <a:latin typeface="+mj-lt"/>
            </a:endParaRPr>
          </a:p>
        </p:txBody>
      </p:sp>
      <p:sp>
        <p:nvSpPr>
          <p:cNvPr id="11" name="Rectangle 10">
            <a:extLst>
              <a:ext uri="{FF2B5EF4-FFF2-40B4-BE49-F238E27FC236}">
                <a16:creationId xmlns:a16="http://schemas.microsoft.com/office/drawing/2014/main" id="{4A3D7C26-FD2D-5A6A-D975-9C98F2452357}"/>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0BFE61C-014D-4046-84AD-E8CDE9D1DC38}"/>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F8BC348D-3317-7996-021D-98131933D043}"/>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2A67D4EE-E9D6-324F-8D08-4C303B83CEA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8DF2718-F9CC-D63C-E281-55634D6179B9}"/>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Footer Placeholder 6">
            <a:extLst>
              <a:ext uri="{FF2B5EF4-FFF2-40B4-BE49-F238E27FC236}">
                <a16:creationId xmlns:a16="http://schemas.microsoft.com/office/drawing/2014/main" id="{F3D6C33B-B512-AD33-8282-91D6C38542CC}"/>
              </a:ext>
            </a:extLst>
          </p:cNvPr>
          <p:cNvSpPr txBox="1">
            <a:spLocks/>
          </p:cNvSpPr>
          <p:nvPr/>
        </p:nvSpPr>
        <p:spPr>
          <a:xfrm>
            <a:off x="442912" y="6355080"/>
            <a:ext cx="5473701" cy="137160"/>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sz="750">
                <a:solidFill>
                  <a:schemeClr val="bg1"/>
                </a:solidFill>
              </a:rPr>
              <a:t>1. modulis. Ievads</a:t>
            </a:r>
            <a:endParaRPr lang="en-US" sz="750">
              <a:solidFill>
                <a:schemeClr val="bg1"/>
              </a:solidFill>
            </a:endParaRPr>
          </a:p>
        </p:txBody>
      </p:sp>
    </p:spTree>
    <p:extLst>
      <p:ext uri="{BB962C8B-B14F-4D97-AF65-F5344CB8AC3E}">
        <p14:creationId xmlns:p14="http://schemas.microsoft.com/office/powerpoint/2010/main" val="3081899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3BBF0F48-FBD9-C186-2690-19006277F629}"/>
              </a:ext>
            </a:extLst>
          </p:cNvPr>
          <p:cNvSpPr txBox="1">
            <a:spLocks/>
          </p:cNvSpPr>
          <p:nvPr/>
        </p:nvSpPr>
        <p:spPr>
          <a:xfrm>
            <a:off x="441326" y="2366374"/>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2</a:t>
            </a:r>
          </a:p>
        </p:txBody>
      </p:sp>
      <p:sp>
        <p:nvSpPr>
          <p:cNvPr id="10" name="Content Placeholder 1">
            <a:extLst>
              <a:ext uri="{FF2B5EF4-FFF2-40B4-BE49-F238E27FC236}">
                <a16:creationId xmlns:a16="http://schemas.microsoft.com/office/drawing/2014/main" id="{3DD202A9-52A0-E1FD-7BE6-EB8CAB170F57}"/>
              </a:ext>
            </a:extLst>
          </p:cNvPr>
          <p:cNvSpPr txBox="1">
            <a:spLocks/>
          </p:cNvSpPr>
          <p:nvPr/>
        </p:nvSpPr>
        <p:spPr>
          <a:xfrm>
            <a:off x="441326" y="291456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3</a:t>
            </a:r>
          </a:p>
        </p:txBody>
      </p:sp>
      <p:sp>
        <p:nvSpPr>
          <p:cNvPr id="12" name="Content Placeholder 1">
            <a:extLst>
              <a:ext uri="{FF2B5EF4-FFF2-40B4-BE49-F238E27FC236}">
                <a16:creationId xmlns:a16="http://schemas.microsoft.com/office/drawing/2014/main" id="{5C70F2A6-9FCB-5B13-3E10-7C9E4FE59F0E}"/>
              </a:ext>
            </a:extLst>
          </p:cNvPr>
          <p:cNvSpPr txBox="1">
            <a:spLocks/>
          </p:cNvSpPr>
          <p:nvPr/>
        </p:nvSpPr>
        <p:spPr>
          <a:xfrm>
            <a:off x="441326" y="346275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4</a:t>
            </a:r>
          </a:p>
        </p:txBody>
      </p:sp>
      <p:sp>
        <p:nvSpPr>
          <p:cNvPr id="15" name="Content Placeholder 1">
            <a:extLst>
              <a:ext uri="{FF2B5EF4-FFF2-40B4-BE49-F238E27FC236}">
                <a16:creationId xmlns:a16="http://schemas.microsoft.com/office/drawing/2014/main" id="{2D5CCE0F-C736-48FF-2FB4-83971FC82BBD}"/>
              </a:ext>
            </a:extLst>
          </p:cNvPr>
          <p:cNvSpPr txBox="1">
            <a:spLocks/>
          </p:cNvSpPr>
          <p:nvPr/>
        </p:nvSpPr>
        <p:spPr>
          <a:xfrm>
            <a:off x="441326" y="401094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5</a:t>
            </a:r>
          </a:p>
        </p:txBody>
      </p:sp>
      <p:sp>
        <p:nvSpPr>
          <p:cNvPr id="24" name="Content Placeholder 1">
            <a:extLst>
              <a:ext uri="{FF2B5EF4-FFF2-40B4-BE49-F238E27FC236}">
                <a16:creationId xmlns:a16="http://schemas.microsoft.com/office/drawing/2014/main" id="{E8C85106-EA88-EF8C-0979-AFCF7D9514E6}"/>
              </a:ext>
            </a:extLst>
          </p:cNvPr>
          <p:cNvSpPr txBox="1">
            <a:spLocks/>
          </p:cNvSpPr>
          <p:nvPr/>
        </p:nvSpPr>
        <p:spPr>
          <a:xfrm>
            <a:off x="441326" y="4559135"/>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6</a:t>
            </a:r>
          </a:p>
        </p:txBody>
      </p:sp>
      <p:sp>
        <p:nvSpPr>
          <p:cNvPr id="43" name="Content Placeholder 1">
            <a:extLst>
              <a:ext uri="{FF2B5EF4-FFF2-40B4-BE49-F238E27FC236}">
                <a16:creationId xmlns:a16="http://schemas.microsoft.com/office/drawing/2014/main" id="{3760D76C-1CE4-7B7A-44DB-264E61DE7641}"/>
              </a:ext>
            </a:extLst>
          </p:cNvPr>
          <p:cNvSpPr txBox="1">
            <a:spLocks/>
          </p:cNvSpPr>
          <p:nvPr/>
        </p:nvSpPr>
        <p:spPr>
          <a:xfrm>
            <a:off x="441326" y="5107325"/>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7</a:t>
            </a:r>
          </a:p>
        </p:txBody>
      </p:sp>
      <p:sp>
        <p:nvSpPr>
          <p:cNvPr id="44" name="Content Placeholder 1">
            <a:extLst>
              <a:ext uri="{FF2B5EF4-FFF2-40B4-BE49-F238E27FC236}">
                <a16:creationId xmlns:a16="http://schemas.microsoft.com/office/drawing/2014/main" id="{115FEDE8-6EB2-5895-25DA-B416D354B250}"/>
              </a:ext>
            </a:extLst>
          </p:cNvPr>
          <p:cNvSpPr txBox="1">
            <a:spLocks/>
          </p:cNvSpPr>
          <p:nvPr/>
        </p:nvSpPr>
        <p:spPr>
          <a:xfrm>
            <a:off x="441326" y="5655518"/>
            <a:ext cx="587375" cy="516682"/>
          </a:xfrm>
          <a:prstGeom prst="rect">
            <a:avLst/>
          </a:prstGeom>
          <a:solidFill>
            <a:srgbClr val="525A72"/>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8</a:t>
            </a:r>
          </a:p>
        </p:txBody>
      </p:sp>
      <p:sp>
        <p:nvSpPr>
          <p:cNvPr id="45" name="Content Placeholder 1">
            <a:extLst>
              <a:ext uri="{FF2B5EF4-FFF2-40B4-BE49-F238E27FC236}">
                <a16:creationId xmlns:a16="http://schemas.microsoft.com/office/drawing/2014/main" id="{0DCFCAD9-A4C3-A8D7-CC31-0DFFCE18CCC7}"/>
              </a:ext>
            </a:extLst>
          </p:cNvPr>
          <p:cNvSpPr txBox="1">
            <a:spLocks/>
          </p:cNvSpPr>
          <p:nvPr/>
        </p:nvSpPr>
        <p:spPr>
          <a:xfrm>
            <a:off x="441326" y="1818184"/>
            <a:ext cx="587375" cy="516682"/>
          </a:xfrm>
          <a:prstGeom prst="rect">
            <a:avLst/>
          </a:prstGeom>
          <a:solidFill>
            <a:srgbClr val="A8192D"/>
          </a:solidFill>
        </p:spPr>
        <p:txBody>
          <a:bodyPr vert="horz" lIns="72000" tIns="0" rIns="7200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lgn="ctr"/>
            <a:r>
              <a:rPr lang="en-GB" sz="1600">
                <a:solidFill>
                  <a:schemeClr val="bg1"/>
                </a:solidFill>
              </a:rPr>
              <a:t>1</a:t>
            </a:r>
          </a:p>
        </p:txBody>
      </p:sp>
      <p:sp>
        <p:nvSpPr>
          <p:cNvPr id="2" name="object 2"/>
          <p:cNvSpPr txBox="1">
            <a:spLocks noGrp="1"/>
          </p:cNvSpPr>
          <p:nvPr>
            <p:ph type="title"/>
          </p:nvPr>
        </p:nvSpPr>
        <p:spPr>
          <a:xfrm>
            <a:off x="442913" y="432001"/>
            <a:ext cx="11306175" cy="1387274"/>
          </a:xfrm>
        </p:spPr>
        <p:txBody>
          <a:bodyPr vert="horz" wrap="square" lIns="0" tIns="0" rIns="0" bIns="0" rtlCol="0">
            <a:noAutofit/>
          </a:bodyPr>
          <a:lstStyle/>
          <a:p>
            <a:r>
              <a:rPr lang="en-US" err="1"/>
              <a:t>Civilās</a:t>
            </a:r>
            <a:r>
              <a:rPr lang="en-US"/>
              <a:t> </a:t>
            </a:r>
            <a:r>
              <a:rPr lang="en-US" err="1"/>
              <a:t>aizsardzības</a:t>
            </a:r>
            <a:r>
              <a:rPr lang="en-US"/>
              <a:t> </a:t>
            </a:r>
            <a:r>
              <a:rPr lang="en-US" err="1"/>
              <a:t>sistēmas</a:t>
            </a:r>
            <a:r>
              <a:rPr lang="en-US"/>
              <a:t> </a:t>
            </a:r>
            <a:r>
              <a:rPr lang="en-US" err="1"/>
              <a:t>uzdevumi</a:t>
            </a:r>
            <a:r>
              <a:rPr lang="lv-LV"/>
              <a:t> (1/6)</a:t>
            </a:r>
            <a:endParaRPr lang="en-US"/>
          </a:p>
        </p:txBody>
      </p:sp>
      <p:sp>
        <p:nvSpPr>
          <p:cNvPr id="23" name="Slide Number Placeholder 3">
            <a:extLst>
              <a:ext uri="{FF2B5EF4-FFF2-40B4-BE49-F238E27FC236}">
                <a16:creationId xmlns:a16="http://schemas.microsoft.com/office/drawing/2014/main" id="{3E50A70C-AE98-4C4C-DD4B-01F345345628}"/>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9</a:t>
            </a:fld>
            <a:endParaRPr lang="en-GB"/>
          </a:p>
        </p:txBody>
      </p:sp>
      <p:pic>
        <p:nvPicPr>
          <p:cNvPr id="22" name="Picture 21">
            <a:extLst>
              <a:ext uri="{FF2B5EF4-FFF2-40B4-BE49-F238E27FC236}">
                <a16:creationId xmlns:a16="http://schemas.microsoft.com/office/drawing/2014/main" id="{3FC3DC7B-39D2-9EAB-034F-B0CAB0821C6F}"/>
              </a:ext>
            </a:extLst>
          </p:cNvPr>
          <p:cNvPicPr>
            <a:picLocks noChangeAspect="1"/>
          </p:cNvPicPr>
          <p:nvPr/>
        </p:nvPicPr>
        <p:blipFill rotWithShape="1">
          <a:blip r:embed="rId3"/>
          <a:srcRect t="8973" r="11146" b="8973"/>
          <a:stretch/>
        </p:blipFill>
        <p:spPr>
          <a:xfrm>
            <a:off x="8218488" y="1818184"/>
            <a:ext cx="3530600" cy="4354016"/>
          </a:xfrm>
          <a:prstGeom prst="rect">
            <a:avLst/>
          </a:prstGeom>
        </p:spPr>
      </p:pic>
      <p:sp>
        <p:nvSpPr>
          <p:cNvPr id="26" name="Rectangle 25">
            <a:extLst>
              <a:ext uri="{FF2B5EF4-FFF2-40B4-BE49-F238E27FC236}">
                <a16:creationId xmlns:a16="http://schemas.microsoft.com/office/drawing/2014/main" id="{CA23CC84-4AA0-2EC3-44A4-A0C1C2A2A595}"/>
              </a:ext>
            </a:extLst>
          </p:cNvPr>
          <p:cNvSpPr/>
          <p:nvPr/>
        </p:nvSpPr>
        <p:spPr>
          <a:xfrm rot="16200000">
            <a:off x="9948069" y="4371975"/>
            <a:ext cx="71438" cy="35306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3" name="Satura vietturis 2">
            <a:extLst>
              <a:ext uri="{FF2B5EF4-FFF2-40B4-BE49-F238E27FC236}">
                <a16:creationId xmlns:a16="http://schemas.microsoft.com/office/drawing/2014/main" id="{EBC48018-9352-BCE7-EC18-F64F9523FBE2}"/>
              </a:ext>
            </a:extLst>
          </p:cNvPr>
          <p:cNvSpPr txBox="1">
            <a:spLocks/>
          </p:cNvSpPr>
          <p:nvPr/>
        </p:nvSpPr>
        <p:spPr>
          <a:xfrm>
            <a:off x="1139874" y="565551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a:solidFill>
                  <a:schemeClr val="tx1">
                    <a:lumMod val="50000"/>
                  </a:schemeClr>
                </a:solidFill>
                <a:latin typeface="Arial"/>
                <a:ea typeface="Arial"/>
                <a:cs typeface="Arial"/>
              </a:rPr>
              <a:t>A</a:t>
            </a:r>
            <a:r>
              <a:rPr lang="lv-LV" sz="1400" err="1">
                <a:solidFill>
                  <a:schemeClr val="tx1">
                    <a:lumMod val="50000"/>
                  </a:schemeClr>
                </a:solidFill>
                <a:latin typeface="Arial"/>
                <a:ea typeface="Arial"/>
                <a:cs typeface="Arial"/>
              </a:rPr>
              <a:t>tbalstīt</a:t>
            </a:r>
            <a:r>
              <a:rPr lang="lv-LV" sz="1400">
                <a:solidFill>
                  <a:schemeClr val="tx1">
                    <a:lumMod val="50000"/>
                  </a:schemeClr>
                </a:solidFill>
                <a:latin typeface="Arial"/>
                <a:ea typeface="Arial"/>
                <a:cs typeface="Arial"/>
              </a:rPr>
              <a:t> valsts aizsardzības sistēmu</a:t>
            </a:r>
            <a:r>
              <a:rPr lang="lv-LV" sz="1400" b="0">
                <a:solidFill>
                  <a:schemeClr val="tx1">
                    <a:lumMod val="50000"/>
                  </a:schemeClr>
                </a:solidFill>
                <a:latin typeface="Arial"/>
                <a:ea typeface="Arial"/>
                <a:cs typeface="Arial"/>
              </a:rPr>
              <a:t>, ja noticis militārs iebrukums vai sācies karš</a:t>
            </a:r>
            <a:endParaRPr lang="en-GB" sz="1400" b="0">
              <a:solidFill>
                <a:schemeClr val="tx1">
                  <a:lumMod val="50000"/>
                </a:schemeClr>
              </a:solidFill>
              <a:cs typeface="Arial"/>
            </a:endParaRPr>
          </a:p>
        </p:txBody>
      </p:sp>
      <p:sp>
        <p:nvSpPr>
          <p:cNvPr id="17" name="Satura vietturis 2">
            <a:extLst>
              <a:ext uri="{FF2B5EF4-FFF2-40B4-BE49-F238E27FC236}">
                <a16:creationId xmlns:a16="http://schemas.microsoft.com/office/drawing/2014/main" id="{727C3B93-672E-9475-DFE2-94264EF24635}"/>
              </a:ext>
            </a:extLst>
          </p:cNvPr>
          <p:cNvSpPr txBox="1">
            <a:spLocks/>
          </p:cNvSpPr>
          <p:nvPr/>
        </p:nvSpPr>
        <p:spPr>
          <a:xfrm>
            <a:off x="1139874" y="5107254"/>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N</a:t>
            </a:r>
            <a:r>
              <a:rPr lang="lv-LV" sz="1400" b="0" err="1">
                <a:solidFill>
                  <a:schemeClr val="tx1">
                    <a:lumMod val="50000"/>
                  </a:schemeClr>
                </a:solidFill>
                <a:latin typeface="Arial"/>
                <a:ea typeface="Arial"/>
                <a:cs typeface="Arial"/>
              </a:rPr>
              <a:t>ormatīvajos</a:t>
            </a:r>
            <a:r>
              <a:rPr lang="lv-LV" sz="1400" b="0">
                <a:solidFill>
                  <a:schemeClr val="tx1">
                    <a:lumMod val="50000"/>
                  </a:schemeClr>
                </a:solidFill>
                <a:latin typeface="Arial"/>
                <a:ea typeface="Arial"/>
                <a:cs typeface="Arial"/>
              </a:rPr>
              <a:t> aktos noteiktajā kārtībā sniegt un saņemt </a:t>
            </a:r>
            <a:r>
              <a:rPr lang="lv-LV" sz="1400">
                <a:solidFill>
                  <a:schemeClr val="tx1">
                    <a:lumMod val="50000"/>
                  </a:schemeClr>
                </a:solidFill>
                <a:latin typeface="Arial"/>
                <a:ea typeface="Arial"/>
                <a:cs typeface="Arial"/>
              </a:rPr>
              <a:t>starptautisko palīdzību</a:t>
            </a:r>
          </a:p>
        </p:txBody>
      </p:sp>
      <p:sp>
        <p:nvSpPr>
          <p:cNvPr id="18" name="Satura vietturis 2">
            <a:extLst>
              <a:ext uri="{FF2B5EF4-FFF2-40B4-BE49-F238E27FC236}">
                <a16:creationId xmlns:a16="http://schemas.microsoft.com/office/drawing/2014/main" id="{23FEABF4-ACC6-6BA5-26A6-57105BBF3D63}"/>
              </a:ext>
            </a:extLst>
          </p:cNvPr>
          <p:cNvSpPr txBox="1">
            <a:spLocks/>
          </p:cNvSpPr>
          <p:nvPr/>
        </p:nvSpPr>
        <p:spPr>
          <a:xfrm>
            <a:off x="1139874" y="4558993"/>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dirty="0">
                <a:solidFill>
                  <a:schemeClr val="tx1">
                    <a:lumMod val="50000"/>
                  </a:schemeClr>
                </a:solidFill>
                <a:latin typeface="Arial"/>
                <a:ea typeface="Arial"/>
                <a:cs typeface="Arial"/>
              </a:rPr>
              <a:t>P</a:t>
            </a:r>
            <a:r>
              <a:rPr lang="lv-LV" sz="1400" b="0" dirty="0" err="1">
                <a:solidFill>
                  <a:schemeClr val="tx1">
                    <a:lumMod val="50000"/>
                  </a:schemeClr>
                </a:solidFill>
                <a:latin typeface="Arial"/>
                <a:ea typeface="Arial"/>
                <a:cs typeface="Arial"/>
              </a:rPr>
              <a:t>lānot</a:t>
            </a:r>
            <a:r>
              <a:rPr lang="lv-LV" sz="1400" b="0" dirty="0">
                <a:solidFill>
                  <a:schemeClr val="tx1">
                    <a:lumMod val="50000"/>
                  </a:schemeClr>
                </a:solidFill>
                <a:latin typeface="Arial"/>
                <a:ea typeface="Arial"/>
                <a:cs typeface="Arial"/>
              </a:rPr>
              <a:t> un veikt </a:t>
            </a:r>
            <a:r>
              <a:rPr lang="lv-LV" sz="1400" dirty="0">
                <a:solidFill>
                  <a:schemeClr val="tx1">
                    <a:lumMod val="50000"/>
                  </a:schemeClr>
                </a:solidFill>
                <a:latin typeface="Arial"/>
                <a:ea typeface="Arial"/>
                <a:cs typeface="Arial"/>
              </a:rPr>
              <a:t>atjaunošanas</a:t>
            </a:r>
            <a:r>
              <a:rPr lang="lv-LV" sz="1400" b="0" dirty="0">
                <a:solidFill>
                  <a:schemeClr val="tx1">
                    <a:lumMod val="50000"/>
                  </a:schemeClr>
                </a:solidFill>
                <a:latin typeface="Arial"/>
                <a:ea typeface="Arial"/>
                <a:cs typeface="Arial"/>
              </a:rPr>
              <a:t> pasākumus</a:t>
            </a:r>
          </a:p>
        </p:txBody>
      </p:sp>
      <p:sp>
        <p:nvSpPr>
          <p:cNvPr id="19" name="Satura vietturis 2">
            <a:extLst>
              <a:ext uri="{FF2B5EF4-FFF2-40B4-BE49-F238E27FC236}">
                <a16:creationId xmlns:a16="http://schemas.microsoft.com/office/drawing/2014/main" id="{640260A6-5B69-D0BB-2ADE-6121D1B73C97}"/>
              </a:ext>
            </a:extLst>
          </p:cNvPr>
          <p:cNvSpPr txBox="1">
            <a:spLocks/>
          </p:cNvSpPr>
          <p:nvPr/>
        </p:nvSpPr>
        <p:spPr>
          <a:xfrm>
            <a:off x="1139874" y="4010732"/>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S</a:t>
            </a:r>
            <a:r>
              <a:rPr lang="lv-LV" sz="1400" b="0" err="1">
                <a:solidFill>
                  <a:schemeClr val="tx1">
                    <a:lumMod val="50000"/>
                  </a:schemeClr>
                </a:solidFill>
                <a:latin typeface="Arial"/>
                <a:ea typeface="Arial"/>
                <a:cs typeface="Arial"/>
              </a:rPr>
              <a:t>niegt</a:t>
            </a:r>
            <a:r>
              <a:rPr lang="lv-LV" sz="1400" b="0">
                <a:solidFill>
                  <a:schemeClr val="tx1">
                    <a:lumMod val="50000"/>
                  </a:schemeClr>
                </a:solidFill>
                <a:latin typeface="Arial"/>
                <a:ea typeface="Arial"/>
                <a:cs typeface="Arial"/>
              </a:rPr>
              <a:t> </a:t>
            </a:r>
            <a:r>
              <a:rPr lang="lv-LV" sz="1400">
                <a:solidFill>
                  <a:schemeClr val="tx1">
                    <a:lumMod val="50000"/>
                  </a:schemeClr>
                </a:solidFill>
                <a:latin typeface="Arial"/>
                <a:ea typeface="Arial"/>
                <a:cs typeface="Arial"/>
              </a:rPr>
              <a:t>palīdzību</a:t>
            </a:r>
            <a:r>
              <a:rPr lang="lv-LV" sz="1400" b="0">
                <a:solidFill>
                  <a:schemeClr val="tx1">
                    <a:lumMod val="50000"/>
                  </a:schemeClr>
                </a:solidFill>
                <a:latin typeface="Arial"/>
                <a:ea typeface="Arial"/>
                <a:cs typeface="Arial"/>
              </a:rPr>
              <a:t> katastrofā cietušajiem un mazināt kaitējumu, ko katastrofa radījusi vai var radīt cilvēkiem, videi un īpašumam</a:t>
            </a:r>
          </a:p>
        </p:txBody>
      </p:sp>
      <p:sp>
        <p:nvSpPr>
          <p:cNvPr id="20" name="Satura vietturis 2">
            <a:extLst>
              <a:ext uri="{FF2B5EF4-FFF2-40B4-BE49-F238E27FC236}">
                <a16:creationId xmlns:a16="http://schemas.microsoft.com/office/drawing/2014/main" id="{6748D0C1-5B92-F6E9-0A59-E6156DD31117}"/>
              </a:ext>
            </a:extLst>
          </p:cNvPr>
          <p:cNvSpPr txBox="1">
            <a:spLocks/>
          </p:cNvSpPr>
          <p:nvPr/>
        </p:nvSpPr>
        <p:spPr>
          <a:xfrm>
            <a:off x="1139874" y="3462471"/>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dirty="0">
                <a:solidFill>
                  <a:schemeClr val="tx1">
                    <a:lumMod val="50000"/>
                  </a:schemeClr>
                </a:solidFill>
                <a:latin typeface="Arial"/>
                <a:ea typeface="Arial"/>
                <a:cs typeface="Arial"/>
              </a:rPr>
              <a:t>P</a:t>
            </a:r>
            <a:r>
              <a:rPr lang="lv-LV" sz="1400" b="0" dirty="0" err="1">
                <a:solidFill>
                  <a:schemeClr val="tx1">
                    <a:lumMod val="50000"/>
                  </a:schemeClr>
                </a:solidFill>
                <a:latin typeface="Arial"/>
                <a:ea typeface="Arial"/>
                <a:cs typeface="Arial"/>
              </a:rPr>
              <a:t>lānot</a:t>
            </a:r>
            <a:r>
              <a:rPr lang="lv-LV" sz="1400" b="0" dirty="0">
                <a:solidFill>
                  <a:schemeClr val="tx1">
                    <a:lumMod val="50000"/>
                  </a:schemeClr>
                </a:solidFill>
                <a:latin typeface="Arial"/>
                <a:ea typeface="Arial"/>
                <a:cs typeface="Arial"/>
              </a:rPr>
              <a:t> un savlaicīgi veikt </a:t>
            </a:r>
            <a:r>
              <a:rPr lang="lv-LV" sz="1400" dirty="0">
                <a:solidFill>
                  <a:schemeClr val="tx1">
                    <a:lumMod val="50000"/>
                  </a:schemeClr>
                </a:solidFill>
                <a:latin typeface="Arial"/>
                <a:ea typeface="Arial"/>
                <a:cs typeface="Arial"/>
              </a:rPr>
              <a:t>preventīvos</a:t>
            </a:r>
            <a:r>
              <a:rPr lang="lv-LV" sz="1400" b="0" dirty="0">
                <a:solidFill>
                  <a:schemeClr val="tx1">
                    <a:lumMod val="50000"/>
                  </a:schemeClr>
                </a:solidFill>
                <a:latin typeface="Arial"/>
                <a:ea typeface="Arial"/>
                <a:cs typeface="Arial"/>
              </a:rPr>
              <a:t> pasākumus</a:t>
            </a:r>
          </a:p>
        </p:txBody>
      </p:sp>
      <p:sp>
        <p:nvSpPr>
          <p:cNvPr id="21" name="Satura vietturis 2">
            <a:extLst>
              <a:ext uri="{FF2B5EF4-FFF2-40B4-BE49-F238E27FC236}">
                <a16:creationId xmlns:a16="http://schemas.microsoft.com/office/drawing/2014/main" id="{AD8FAEBD-9C40-1056-EDEE-D682D22C4018}"/>
              </a:ext>
            </a:extLst>
          </p:cNvPr>
          <p:cNvSpPr txBox="1">
            <a:spLocks/>
          </p:cNvSpPr>
          <p:nvPr/>
        </p:nvSpPr>
        <p:spPr>
          <a:xfrm>
            <a:off x="1139874" y="2914210"/>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S</a:t>
            </a:r>
            <a:r>
              <a:rPr lang="lv-LV" sz="1400" b="0" err="1">
                <a:solidFill>
                  <a:schemeClr val="tx1">
                    <a:lumMod val="50000"/>
                  </a:schemeClr>
                </a:solidFill>
                <a:latin typeface="Arial"/>
                <a:ea typeface="Arial"/>
                <a:cs typeface="Arial"/>
              </a:rPr>
              <a:t>avlaicīgi</a:t>
            </a:r>
            <a:r>
              <a:rPr lang="lv-LV" sz="1400" b="0">
                <a:solidFill>
                  <a:schemeClr val="tx1">
                    <a:lumMod val="50000"/>
                  </a:schemeClr>
                </a:solidFill>
                <a:latin typeface="Arial"/>
                <a:ea typeface="Arial"/>
                <a:cs typeface="Arial"/>
              </a:rPr>
              <a:t> </a:t>
            </a:r>
            <a:r>
              <a:rPr lang="lv-LV" sz="1400">
                <a:solidFill>
                  <a:schemeClr val="tx1">
                    <a:lumMod val="50000"/>
                  </a:schemeClr>
                </a:solidFill>
                <a:latin typeface="Arial"/>
                <a:ea typeface="Arial"/>
                <a:cs typeface="Arial"/>
              </a:rPr>
              <a:t>prognozēt</a:t>
            </a:r>
            <a:r>
              <a:rPr lang="lv-LV" sz="1400" b="0">
                <a:solidFill>
                  <a:schemeClr val="tx1">
                    <a:lumMod val="50000"/>
                  </a:schemeClr>
                </a:solidFill>
                <a:latin typeface="Arial"/>
                <a:ea typeface="Arial"/>
                <a:cs typeface="Arial"/>
              </a:rPr>
              <a:t> katastrofas draudus</a:t>
            </a:r>
          </a:p>
        </p:txBody>
      </p:sp>
      <p:sp>
        <p:nvSpPr>
          <p:cNvPr id="25" name="Satura vietturis 2">
            <a:extLst>
              <a:ext uri="{FF2B5EF4-FFF2-40B4-BE49-F238E27FC236}">
                <a16:creationId xmlns:a16="http://schemas.microsoft.com/office/drawing/2014/main" id="{FA38E11F-EB0A-CDA0-8C36-9EFAAEF89052}"/>
              </a:ext>
            </a:extLst>
          </p:cNvPr>
          <p:cNvSpPr txBox="1">
            <a:spLocks/>
          </p:cNvSpPr>
          <p:nvPr/>
        </p:nvSpPr>
        <p:spPr>
          <a:xfrm>
            <a:off x="1139874" y="2365949"/>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b="0">
                <a:solidFill>
                  <a:schemeClr val="tx1">
                    <a:lumMod val="50000"/>
                  </a:schemeClr>
                </a:solidFill>
                <a:latin typeface="Arial"/>
                <a:ea typeface="Arial"/>
                <a:cs typeface="Arial"/>
              </a:rPr>
              <a:t>P</a:t>
            </a:r>
            <a:r>
              <a:rPr lang="lv-LV" sz="1400" b="0" err="1">
                <a:solidFill>
                  <a:schemeClr val="tx1">
                    <a:lumMod val="50000"/>
                  </a:schemeClr>
                </a:solidFill>
                <a:latin typeface="Arial"/>
                <a:ea typeface="Arial"/>
                <a:cs typeface="Arial"/>
              </a:rPr>
              <a:t>ēc</a:t>
            </a:r>
            <a:r>
              <a:rPr lang="lv-LV" sz="1400" b="0">
                <a:solidFill>
                  <a:schemeClr val="tx1">
                    <a:lumMod val="50000"/>
                  </a:schemeClr>
                </a:solidFill>
                <a:latin typeface="Arial"/>
                <a:ea typeface="Arial"/>
                <a:cs typeface="Arial"/>
              </a:rPr>
              <a:t> iespējas </a:t>
            </a:r>
            <a:r>
              <a:rPr lang="lv-LV" sz="1400">
                <a:solidFill>
                  <a:schemeClr val="tx1">
                    <a:lumMod val="50000"/>
                  </a:schemeClr>
                </a:solidFill>
                <a:latin typeface="Arial"/>
                <a:ea typeface="Arial"/>
                <a:cs typeface="Arial"/>
              </a:rPr>
              <a:t>nodrošināt</a:t>
            </a:r>
            <a:r>
              <a:rPr lang="lv-LV" sz="1400" b="0">
                <a:solidFill>
                  <a:schemeClr val="tx1">
                    <a:lumMod val="50000"/>
                  </a:schemeClr>
                </a:solidFill>
                <a:latin typeface="Arial"/>
                <a:ea typeface="Arial"/>
                <a:cs typeface="Arial"/>
              </a:rPr>
              <a:t> sabiedrībai minimāli nepieciešamās </a:t>
            </a:r>
            <a:r>
              <a:rPr lang="lv-LV" sz="1400">
                <a:solidFill>
                  <a:schemeClr val="tx1">
                    <a:lumMod val="50000"/>
                  </a:schemeClr>
                </a:solidFill>
                <a:latin typeface="Arial"/>
                <a:ea typeface="Arial"/>
                <a:cs typeface="Arial"/>
              </a:rPr>
              <a:t>pamatvajadzības</a:t>
            </a:r>
            <a:r>
              <a:rPr lang="lv-LV" sz="1400" b="0">
                <a:solidFill>
                  <a:schemeClr val="tx1">
                    <a:lumMod val="50000"/>
                  </a:schemeClr>
                </a:solidFill>
                <a:latin typeface="Arial"/>
                <a:ea typeface="Arial"/>
                <a:cs typeface="Arial"/>
              </a:rPr>
              <a:t> katastrofas vai katastrofas draudu gadījumā</a:t>
            </a:r>
          </a:p>
        </p:txBody>
      </p:sp>
      <p:sp>
        <p:nvSpPr>
          <p:cNvPr id="27" name="Satura vietturis 2">
            <a:extLst>
              <a:ext uri="{FF2B5EF4-FFF2-40B4-BE49-F238E27FC236}">
                <a16:creationId xmlns:a16="http://schemas.microsoft.com/office/drawing/2014/main" id="{9BD1E965-D91B-3C2F-FE9D-C8C3604F3517}"/>
              </a:ext>
            </a:extLst>
          </p:cNvPr>
          <p:cNvSpPr txBox="1">
            <a:spLocks/>
          </p:cNvSpPr>
          <p:nvPr/>
        </p:nvSpPr>
        <p:spPr>
          <a:xfrm>
            <a:off x="1139874" y="1817688"/>
            <a:ext cx="6721426" cy="517525"/>
          </a:xfrm>
          <a:prstGeom prst="rect">
            <a:avLst/>
          </a:prstGeom>
          <a:no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600"/>
              </a:spcAft>
            </a:pPr>
            <a:r>
              <a:rPr lang="en-US" sz="1400">
                <a:solidFill>
                  <a:schemeClr val="tx1">
                    <a:lumMod val="50000"/>
                  </a:schemeClr>
                </a:solidFill>
                <a:latin typeface="Arial"/>
                <a:ea typeface="Arial"/>
                <a:cs typeface="Arial"/>
              </a:rPr>
              <a:t>N</a:t>
            </a:r>
            <a:r>
              <a:rPr lang="lv-LV" sz="1400">
                <a:solidFill>
                  <a:schemeClr val="tx1">
                    <a:lumMod val="50000"/>
                  </a:schemeClr>
                </a:solidFill>
                <a:latin typeface="Arial"/>
                <a:ea typeface="Arial"/>
                <a:cs typeface="Arial"/>
              </a:rPr>
              <a:t>odrošināt</a:t>
            </a:r>
            <a:r>
              <a:rPr lang="lv-LV" sz="1400" b="0">
                <a:solidFill>
                  <a:schemeClr val="tx1">
                    <a:lumMod val="50000"/>
                  </a:schemeClr>
                </a:solidFill>
                <a:latin typeface="Arial"/>
                <a:ea typeface="Arial"/>
                <a:cs typeface="Arial"/>
              </a:rPr>
              <a:t> cilvēku, vides un īpašuma </a:t>
            </a:r>
            <a:r>
              <a:rPr lang="lv-LV" sz="1400">
                <a:solidFill>
                  <a:schemeClr val="tx1">
                    <a:lumMod val="50000"/>
                  </a:schemeClr>
                </a:solidFill>
                <a:latin typeface="Arial"/>
                <a:ea typeface="Arial"/>
                <a:cs typeface="Arial"/>
              </a:rPr>
              <a:t>drošību</a:t>
            </a:r>
            <a:endParaRPr lang="en-US" sz="1400">
              <a:solidFill>
                <a:schemeClr val="tx1">
                  <a:lumMod val="50000"/>
                </a:schemeClr>
              </a:solidFill>
              <a:cs typeface="Arial"/>
            </a:endParaRPr>
          </a:p>
        </p:txBody>
      </p:sp>
      <p:grpSp>
        <p:nvGrpSpPr>
          <p:cNvPr id="49" name="Group 48">
            <a:extLst>
              <a:ext uri="{FF2B5EF4-FFF2-40B4-BE49-F238E27FC236}">
                <a16:creationId xmlns:a16="http://schemas.microsoft.com/office/drawing/2014/main" id="{697C6007-3040-204C-A3FD-47509E44B5E5}"/>
              </a:ext>
            </a:extLst>
          </p:cNvPr>
          <p:cNvGrpSpPr/>
          <p:nvPr/>
        </p:nvGrpSpPr>
        <p:grpSpPr>
          <a:xfrm>
            <a:off x="9042363" y="126781"/>
            <a:ext cx="2706725" cy="217488"/>
            <a:chOff x="8561592" y="126781"/>
            <a:chExt cx="2706725" cy="217488"/>
          </a:xfrm>
        </p:grpSpPr>
        <p:sp>
          <p:nvSpPr>
            <p:cNvPr id="5" name="Rectangle 4">
              <a:extLst>
                <a:ext uri="{FF2B5EF4-FFF2-40B4-BE49-F238E27FC236}">
                  <a16:creationId xmlns:a16="http://schemas.microsoft.com/office/drawing/2014/main" id="{BEB21C4C-B139-D35B-4591-F197B41BB3BF}"/>
                </a:ext>
              </a:extLst>
            </p:cNvPr>
            <p:cNvSpPr/>
            <p:nvPr/>
          </p:nvSpPr>
          <p:spPr>
            <a:xfrm>
              <a:off x="8561592"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1</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sp>
          <p:nvSpPr>
            <p:cNvPr id="6" name="Rectangle 5">
              <a:extLst>
                <a:ext uri="{FF2B5EF4-FFF2-40B4-BE49-F238E27FC236}">
                  <a16:creationId xmlns:a16="http://schemas.microsoft.com/office/drawing/2014/main" id="{57B5E1B4-E241-90C4-E828-684C241A9E44}"/>
                </a:ext>
              </a:extLst>
            </p:cNvPr>
            <p:cNvSpPr/>
            <p:nvPr/>
          </p:nvSpPr>
          <p:spPr>
            <a:xfrm>
              <a:off x="9045244" y="126781"/>
              <a:ext cx="1982686" cy="217488"/>
            </a:xfrm>
            <a:prstGeom prst="rect">
              <a:avLst/>
            </a:prstGeom>
            <a:solidFill>
              <a:srgbClr val="CFD6E8"/>
            </a:solidFill>
            <a:ln w="3175">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b="1" i="0" u="none" strike="noStrike" kern="0" cap="none" spc="0" normalizeH="0" baseline="0" noProof="0">
                  <a:ln>
                    <a:noFill/>
                  </a:ln>
                  <a:effectLst/>
                  <a:uLnTx/>
                  <a:uFillTx/>
                  <a:ea typeface="Georgia"/>
                  <a:cs typeface="Georgia"/>
                  <a:sym typeface="Georgia"/>
                </a:rPr>
                <a:t>Civilās aizsardzības sistēmas uzdevumi</a:t>
              </a:r>
            </a:p>
          </p:txBody>
        </p:sp>
        <p:sp>
          <p:nvSpPr>
            <p:cNvPr id="7" name="Rectangle 6">
              <a:extLst>
                <a:ext uri="{FF2B5EF4-FFF2-40B4-BE49-F238E27FC236}">
                  <a16:creationId xmlns:a16="http://schemas.microsoft.com/office/drawing/2014/main" id="{A6481F2A-F30A-0093-7E92-3950EC990452}"/>
                </a:ext>
              </a:extLst>
            </p:cNvPr>
            <p:cNvSpPr/>
            <p:nvPr/>
          </p:nvSpPr>
          <p:spPr>
            <a:xfrm>
              <a:off x="8804859" y="126781"/>
              <a:ext cx="216000" cy="217488"/>
            </a:xfrm>
            <a:prstGeom prst="rect">
              <a:avLst/>
            </a:prstGeom>
            <a:solidFill>
              <a:srgbClr val="CFD6E8"/>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effectLst/>
                  <a:uLnTx/>
                  <a:uFillTx/>
                  <a:ea typeface="Georgia"/>
                  <a:cs typeface="Georgia"/>
                  <a:sym typeface="Georgia"/>
                </a:rPr>
                <a:t>1.2</a:t>
              </a:r>
              <a:endParaRPr kumimoji="0" lang="lv-LV" sz="800" b="1" i="0" u="none" strike="noStrike" kern="0" cap="none" spc="0" normalizeH="0" baseline="0" noProof="0">
                <a:ln>
                  <a:noFill/>
                </a:ln>
                <a:effectLst/>
                <a:uLnTx/>
                <a:uFillTx/>
                <a:ea typeface="Georgia"/>
                <a:cs typeface="Georgia"/>
                <a:sym typeface="Georgia"/>
              </a:endParaRPr>
            </a:p>
          </p:txBody>
        </p:sp>
        <p:sp>
          <p:nvSpPr>
            <p:cNvPr id="8" name="Rectangle 7">
              <a:extLst>
                <a:ext uri="{FF2B5EF4-FFF2-40B4-BE49-F238E27FC236}">
                  <a16:creationId xmlns:a16="http://schemas.microsoft.com/office/drawing/2014/main" id="{93164976-3AA6-AE35-11D1-5E25A1D0C4BE}"/>
                </a:ext>
              </a:extLst>
            </p:cNvPr>
            <p:cNvSpPr/>
            <p:nvPr/>
          </p:nvSpPr>
          <p:spPr>
            <a:xfrm>
              <a:off x="11052317" y="126781"/>
              <a:ext cx="216000" cy="217488"/>
            </a:xfrm>
            <a:prstGeom prst="rect">
              <a:avLst/>
            </a:prstGeom>
            <a:solidFill>
              <a:schemeClr val="bg1">
                <a:lumMod val="95000"/>
              </a:schemeClr>
            </a:solidFill>
            <a:ln>
              <a:noFill/>
            </a:ln>
          </p:spPr>
          <p:txBody>
            <a:bodyPr wrap="none" lIns="72000" tIns="72000" rIns="72000" bIns="72000" anchor="ctr">
              <a:noAutofit/>
            </a:bodyPr>
            <a:lstStyle/>
            <a:p>
              <a:pPr marL="0" marR="0" lvl="0" indent="0" algn="ctr" defTabSz="914400" eaLnBrk="1" fontAlgn="auto" latinLnBrk="0" hangingPunct="1">
                <a:lnSpc>
                  <a:spcPct val="100000"/>
                </a:lnSpc>
                <a:spcBef>
                  <a:spcPts val="0"/>
                </a:spcBef>
                <a:spcAft>
                  <a:spcPts val="0"/>
                </a:spcAft>
                <a:buClr>
                  <a:srgbClr val="FFFFFF"/>
                </a:buClr>
                <a:buSzPts val="14400"/>
                <a:buFont typeface="Arial"/>
                <a:buNone/>
                <a:tabLst/>
                <a:defRPr/>
              </a:pPr>
              <a:r>
                <a:rPr kumimoji="0" lang="en-US" sz="800" b="1" i="0" u="none" strike="noStrike" kern="0" cap="none" spc="0" normalizeH="0" baseline="0" noProof="0">
                  <a:ln>
                    <a:noFill/>
                  </a:ln>
                  <a:solidFill>
                    <a:srgbClr val="A4A3B2"/>
                  </a:solidFill>
                  <a:effectLst/>
                  <a:uLnTx/>
                  <a:uFillTx/>
                  <a:ea typeface="Georgia"/>
                  <a:cs typeface="Georgia"/>
                  <a:sym typeface="Georgia"/>
                </a:rPr>
                <a:t>1.3</a:t>
              </a:r>
              <a:endParaRPr kumimoji="0" lang="lv-LV" sz="800" b="1" i="0" u="none" strike="noStrike" kern="0" cap="none" spc="0" normalizeH="0" baseline="0" noProof="0">
                <a:ln>
                  <a:noFill/>
                </a:ln>
                <a:solidFill>
                  <a:srgbClr val="A4A3B2"/>
                </a:solidFill>
                <a:effectLst/>
                <a:uLnTx/>
                <a:uFillTx/>
                <a:ea typeface="Georgia"/>
                <a:cs typeface="Georgia"/>
                <a:sym typeface="Georgia"/>
              </a:endParaRPr>
            </a:p>
          </p:txBody>
        </p:sp>
      </p:grpSp>
      <p:sp>
        <p:nvSpPr>
          <p:cNvPr id="4" name="Rectangle 3">
            <a:extLst>
              <a:ext uri="{FF2B5EF4-FFF2-40B4-BE49-F238E27FC236}">
                <a16:creationId xmlns:a16="http://schemas.microsoft.com/office/drawing/2014/main" id="{3C3457B2-2C2D-B462-694B-F6DE3E970178}"/>
              </a:ext>
            </a:extLst>
          </p:cNvPr>
          <p:cNvSpPr/>
          <p:nvPr/>
        </p:nvSpPr>
        <p:spPr>
          <a:xfrm>
            <a:off x="442913" y="126781"/>
            <a:ext cx="692467" cy="216216"/>
          </a:xfrm>
          <a:prstGeom prst="rect">
            <a:avLst/>
          </a:prstGeom>
          <a:noFill/>
          <a:ln>
            <a:noFill/>
          </a:ln>
        </p:spPr>
        <p:txBody>
          <a:bodyPr wrap="none" lIns="0" tIns="0" rIns="0" bIns="0" anchor="ctr">
            <a:noAutofit/>
          </a:bodyPr>
          <a:lstStyle/>
          <a:p>
            <a:pPr marL="0" marR="0" lvl="0" indent="0" defTabSz="914400" eaLnBrk="1" fontAlgn="auto" latinLnBrk="0" hangingPunct="1">
              <a:lnSpc>
                <a:spcPct val="100000"/>
              </a:lnSpc>
              <a:spcBef>
                <a:spcPts val="0"/>
              </a:spcBef>
              <a:spcAft>
                <a:spcPts val="0"/>
              </a:spcAft>
              <a:buClr>
                <a:srgbClr val="FFFFFF"/>
              </a:buClr>
              <a:buSzPts val="14400"/>
              <a:buFont typeface="Arial"/>
              <a:buNone/>
              <a:tabLst/>
              <a:defRPr/>
            </a:pPr>
            <a:r>
              <a:rPr kumimoji="0" lang="lv-LV" sz="800" i="0" u="none" strike="noStrike" kern="0" cap="none" spc="0" normalizeH="0" baseline="0" noProof="0">
                <a:ln>
                  <a:noFill/>
                </a:ln>
                <a:solidFill>
                  <a:srgbClr val="A4A3B2"/>
                </a:solidFill>
                <a:effectLst/>
                <a:uLnTx/>
                <a:uFillTx/>
                <a:ea typeface="Georgia"/>
                <a:cs typeface="Georgia"/>
                <a:sym typeface="Georgia"/>
              </a:rPr>
              <a:t>1.</a:t>
            </a:r>
            <a:r>
              <a:rPr kumimoji="0" lang="en-US" sz="800" i="0" u="none" strike="noStrike" kern="0" cap="none" spc="0" normalizeH="0" baseline="0" noProof="0">
                <a:ln>
                  <a:noFill/>
                </a:ln>
                <a:solidFill>
                  <a:srgbClr val="A4A3B2"/>
                </a:solidFill>
                <a:effectLst/>
                <a:uLnTx/>
                <a:uFillTx/>
                <a:ea typeface="Georgia"/>
                <a:cs typeface="Georgia"/>
                <a:sym typeface="Georgia"/>
              </a:rPr>
              <a:t> </a:t>
            </a:r>
            <a:r>
              <a:rPr kumimoji="0" lang="lv-LV" sz="800" i="0" u="none" strike="noStrike" kern="0" cap="none" spc="0" normalizeH="0" baseline="0" noProof="0">
                <a:ln>
                  <a:noFill/>
                </a:ln>
                <a:solidFill>
                  <a:srgbClr val="A4A3B2"/>
                </a:solidFill>
                <a:effectLst/>
                <a:uLnTx/>
                <a:uFillTx/>
                <a:ea typeface="Georgia"/>
                <a:cs typeface="Georgia"/>
                <a:sym typeface="Georgia"/>
              </a:rPr>
              <a:t>IEVADS</a:t>
            </a:r>
          </a:p>
        </p:txBody>
      </p:sp>
      <p:cxnSp>
        <p:nvCxnSpPr>
          <p:cNvPr id="62" name="Straight Connector 61">
            <a:extLst>
              <a:ext uri="{FF2B5EF4-FFF2-40B4-BE49-F238E27FC236}">
                <a16:creationId xmlns:a16="http://schemas.microsoft.com/office/drawing/2014/main" id="{CAA4E6B3-D8F0-73EF-7ED3-E12D091F12DC}"/>
              </a:ext>
            </a:extLst>
          </p:cNvPr>
          <p:cNvCxnSpPr>
            <a:cxnSpLocks/>
          </p:cNvCxnSpPr>
          <p:nvPr/>
        </p:nvCxnSpPr>
        <p:spPr>
          <a:xfrm>
            <a:off x="1143954" y="2897651"/>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7C34C7CB-C6AC-2238-6F9E-C5C5D5E986E8}"/>
              </a:ext>
            </a:extLst>
          </p:cNvPr>
          <p:cNvCxnSpPr>
            <a:cxnSpLocks/>
          </p:cNvCxnSpPr>
          <p:nvPr/>
        </p:nvCxnSpPr>
        <p:spPr>
          <a:xfrm>
            <a:off x="1143954" y="2349390"/>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5" name="Straight Connector 64">
            <a:extLst>
              <a:ext uri="{FF2B5EF4-FFF2-40B4-BE49-F238E27FC236}">
                <a16:creationId xmlns:a16="http://schemas.microsoft.com/office/drawing/2014/main" id="{23384F3A-87AB-3021-A411-FB172ABE3E79}"/>
              </a:ext>
            </a:extLst>
          </p:cNvPr>
          <p:cNvCxnSpPr>
            <a:cxnSpLocks/>
          </p:cNvCxnSpPr>
          <p:nvPr/>
        </p:nvCxnSpPr>
        <p:spPr>
          <a:xfrm>
            <a:off x="1143954" y="3445912"/>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CB905FE2-D563-2EFA-AB8C-F2DB9B8D02F4}"/>
              </a:ext>
            </a:extLst>
          </p:cNvPr>
          <p:cNvCxnSpPr>
            <a:cxnSpLocks/>
          </p:cNvCxnSpPr>
          <p:nvPr/>
        </p:nvCxnSpPr>
        <p:spPr>
          <a:xfrm>
            <a:off x="1143954" y="3994173"/>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7" name="Straight Connector 66">
            <a:extLst>
              <a:ext uri="{FF2B5EF4-FFF2-40B4-BE49-F238E27FC236}">
                <a16:creationId xmlns:a16="http://schemas.microsoft.com/office/drawing/2014/main" id="{E287A7CB-21F9-540C-2BEE-72ECBEE335EF}"/>
              </a:ext>
            </a:extLst>
          </p:cNvPr>
          <p:cNvCxnSpPr>
            <a:cxnSpLocks/>
          </p:cNvCxnSpPr>
          <p:nvPr/>
        </p:nvCxnSpPr>
        <p:spPr>
          <a:xfrm>
            <a:off x="1143954" y="4542434"/>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8" name="Straight Connector 67">
            <a:extLst>
              <a:ext uri="{FF2B5EF4-FFF2-40B4-BE49-F238E27FC236}">
                <a16:creationId xmlns:a16="http://schemas.microsoft.com/office/drawing/2014/main" id="{DD5F21B5-73F4-16F2-4BA1-4E255366519E}"/>
              </a:ext>
            </a:extLst>
          </p:cNvPr>
          <p:cNvCxnSpPr>
            <a:cxnSpLocks/>
          </p:cNvCxnSpPr>
          <p:nvPr/>
        </p:nvCxnSpPr>
        <p:spPr>
          <a:xfrm>
            <a:off x="1143954" y="5090695"/>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69" name="Straight Connector 68">
            <a:extLst>
              <a:ext uri="{FF2B5EF4-FFF2-40B4-BE49-F238E27FC236}">
                <a16:creationId xmlns:a16="http://schemas.microsoft.com/office/drawing/2014/main" id="{7062923F-0EEE-D845-B064-4E49EA0D0FB6}"/>
              </a:ext>
            </a:extLst>
          </p:cNvPr>
          <p:cNvCxnSpPr>
            <a:cxnSpLocks/>
          </p:cNvCxnSpPr>
          <p:nvPr/>
        </p:nvCxnSpPr>
        <p:spPr>
          <a:xfrm>
            <a:off x="1143954" y="5638956"/>
            <a:ext cx="6717346" cy="2382"/>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42,23,Izmantotie avoti"/>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Props1.xml><?xml version="1.0" encoding="utf-8"?>
<ds:datastoreItem xmlns:ds="http://schemas.openxmlformats.org/officeDocument/2006/customXml" ds:itemID="{275F895F-5416-4EE5-B52F-982468AAB2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BC72B9-40AC-49B0-A500-CF087F29D9AA}">
  <ds:schemaRefs>
    <ds:schemaRef ds:uri="http://schemas.microsoft.com/sharepoint/v3/contenttype/forms"/>
  </ds:schemaRefs>
</ds:datastoreItem>
</file>

<file path=customXml/itemProps3.xml><?xml version="1.0" encoding="utf-8"?>
<ds:datastoreItem xmlns:ds="http://schemas.openxmlformats.org/officeDocument/2006/customXml" ds:itemID="{0456E67B-B845-47F7-9C20-8D0F4A40D6C5}">
  <ds:schemaRefs>
    <ds:schemaRef ds:uri="http://purl.org/dc/dcmitype/"/>
    <ds:schemaRef ds:uri="http://purl.org/dc/terms/"/>
    <ds:schemaRef ds:uri="51cb120f-d312-4c6b-a4cc-bcc7f473426d"/>
    <ds:schemaRef ds:uri="http://schemas.microsoft.com/office/2006/metadata/propertie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d4c41ca5-56e0-486b-8028-8e1cdea398f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693</Words>
  <Application>Microsoft Office PowerPoint</Application>
  <PresentationFormat>Widescreen</PresentationFormat>
  <Paragraphs>332</Paragraphs>
  <Slides>23</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Georgia</vt:lpstr>
      <vt:lpstr>Open Sans</vt:lpstr>
      <vt:lpstr>Times New Roman</vt:lpstr>
      <vt:lpstr>PwC</vt:lpstr>
      <vt:lpstr>think-cell Slide</vt:lpstr>
      <vt:lpstr>PowerPoint Presentation</vt:lpstr>
      <vt:lpstr>Uzdevumi</vt:lpstr>
      <vt:lpstr>Satura rādītājs</vt:lpstr>
      <vt:lpstr>PowerPoint Presentation</vt:lpstr>
      <vt:lpstr>PowerPoint Presentation</vt:lpstr>
      <vt:lpstr>Civilās aizsardzības jēdziens</vt:lpstr>
      <vt:lpstr>PowerPoint Presentation</vt:lpstr>
      <vt:lpstr>PowerPoint Presentation</vt:lpstr>
      <vt:lpstr>Civilās aizsardzības sistēmas uzdevumi (1/6)</vt:lpstr>
      <vt:lpstr>Civilās aizsardzības sistēmas uzdevumi (2/6)</vt:lpstr>
      <vt:lpstr>Civilās aizsardzības sistēmas uzdevumi (3/6)</vt:lpstr>
      <vt:lpstr>Civilās aizsardzības sistēmas uzdevumi (4/6)</vt:lpstr>
      <vt:lpstr>Civilās aizsardzības sistēmas uzdevumi (5/6)</vt:lpstr>
      <vt:lpstr>Civilās aizsardzības sistēmas uzdevumi (6/6)</vt:lpstr>
      <vt:lpstr>Katastrofas pārvaldīšanas pasākumu kopums, kuri tiek veikti, lai nodrošinātu civilās aizsardzības uzdevumu izpildi</vt:lpstr>
      <vt:lpstr>Preventīvie un gatavības pasākumi</vt:lpstr>
      <vt:lpstr>PowerPoint Presentation</vt:lpstr>
      <vt:lpstr>Ženēvas konvencijas attīstība un nozīme civilajā aizsardzībā</vt:lpstr>
      <vt:lpstr>IV Ženēvas konvencija  </vt:lpstr>
      <vt:lpstr>Ženēvas konvencija mūsdienās</vt:lpstr>
      <vt:lpstr>Civilās aizsardzības sistēmas attīstība Latvijā</vt:lpstr>
      <vt:lpstr>Kopsavilkums</vt:lpstr>
      <vt:lpstr>Izmantotie avoti</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8</cp:revision>
  <dcterms:created xsi:type="dcterms:W3CDTF">2024-05-09T17:15:14Z</dcterms:created>
  <dcterms:modified xsi:type="dcterms:W3CDTF">2024-09-02T06:20: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TaxCatchAll">
    <vt:lpwstr/>
  </property>
  <property fmtid="{D5CDD505-2E9C-101B-9397-08002B2CF9AE}" pid="5" name="lcf76f155ced4ddcb4097134ff3c332f">
    <vt:lpwstr/>
  </property>
</Properties>
</file>